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modernComment_7FFFF6DE_92B3E245.xml" ContentType="application/vnd.ms-powerpoint.comments+xml"/>
  <Override PartName="/ppt/notesSlides/notesSlide1.xml" ContentType="application/vnd.openxmlformats-officedocument.presentationml.notesSlide+xml"/>
  <Override PartName="/ppt/comments/modernComment_7FFFF729_2749BB20.xml" ContentType="application/vnd.ms-powerpoint.comments+xml"/>
  <Override PartName="/ppt/tags/tag89.xml" ContentType="application/vnd.openxmlformats-officedocument.presentationml.tags+xml"/>
  <Override PartName="/ppt/tags/tag90.xml" ContentType="application/vnd.openxmlformats-officedocument.presentationml.tags+xml"/>
  <Override PartName="/ppt/notesSlides/notesSlide2.xml" ContentType="application/vnd.openxmlformats-officedocument.presentationml.notesSlide+xml"/>
  <Override PartName="/ppt/comments/modernComment_7FFFFFF0_1F3408CC.xml" ContentType="application/vnd.ms-powerpoint.comments+xml"/>
  <Override PartName="/ppt/tags/tag91.xml" ContentType="application/vnd.openxmlformats-officedocument.presentationml.tags+xml"/>
  <Override PartName="/ppt/tags/tag92.xml" ContentType="application/vnd.openxmlformats-officedocument.presentationml.tags+xml"/>
  <Override PartName="/ppt/notesSlides/notesSlide3.xml" ContentType="application/vnd.openxmlformats-officedocument.presentationml.notesSlide+xml"/>
  <Override PartName="/ppt/comments/modernComment_7FFFF2B9_32130B04.xml" ContentType="application/vnd.ms-powerpoint.comments+xml"/>
  <Override PartName="/ppt/tags/tag93.xml" ContentType="application/vnd.openxmlformats-officedocument.presentationml.tags+xml"/>
  <Override PartName="/ppt/tags/tag94.xml" ContentType="application/vnd.openxmlformats-officedocument.presentationml.tags+xml"/>
  <Override PartName="/ppt/notesSlides/notesSlide4.xml" ContentType="application/vnd.openxmlformats-officedocument.presentationml.notesSlide+xml"/>
  <Override PartName="/ppt/comments/modernComment_7FFFF2BC_BE380BF1.xml" ContentType="application/vnd.ms-powerpoint.comments+xml"/>
  <Override PartName="/ppt/comments/modernComment_7FFFF6DF_F879CB04.xml" ContentType="application/vnd.ms-powerpoint.comments+xml"/>
  <Override PartName="/ppt/tags/tag95.xml" ContentType="application/vnd.openxmlformats-officedocument.presentationml.tags+xml"/>
  <Override PartName="/ppt/notesSlides/notesSlide5.xml" ContentType="application/vnd.openxmlformats-officedocument.presentationml.notesSlide+xml"/>
  <Override PartName="/ppt/comments/modernComment_7F3E89E0_58E5EB88.xml" ContentType="application/vnd.ms-powerpoint.comments+xml"/>
  <Override PartName="/ppt/tags/tag96.xml" ContentType="application/vnd.openxmlformats-officedocument.presentationml.tags+xml"/>
  <Override PartName="/ppt/tags/tag97.xml" ContentType="application/vnd.openxmlformats-officedocument.presentationml.tags+xml"/>
  <Override PartName="/ppt/notesSlides/notesSlide6.xml" ContentType="application/vnd.openxmlformats-officedocument.presentationml.notesSlide+xml"/>
  <Override PartName="/ppt/comments/modernComment_7FFFF2C4_FA2E14E1.xml" ContentType="application/vnd.ms-powerpoint.comments+xml"/>
  <Override PartName="/ppt/tags/tag98.xml" ContentType="application/vnd.openxmlformats-officedocument.presentationml.tags+xml"/>
  <Override PartName="/ppt/tags/tag99.xml" ContentType="application/vnd.openxmlformats-officedocument.presentationml.tags+xml"/>
  <Override PartName="/ppt/notesSlides/notesSlide7.xml" ContentType="application/vnd.openxmlformats-officedocument.presentationml.notesSlide+xml"/>
  <Override PartName="/ppt/comments/modernComment_7FFFF2C5_58D8BAA2.xml" ContentType="application/vnd.ms-powerpoint.comments+xml"/>
  <Override PartName="/ppt/tags/tag100.xml" ContentType="application/vnd.openxmlformats-officedocument.presentationml.tags+xml"/>
  <Override PartName="/ppt/tags/tag101.xml" ContentType="application/vnd.openxmlformats-officedocument.presentationml.tags+xml"/>
  <Override PartName="/ppt/notesSlides/notesSlide8.xml" ContentType="application/vnd.openxmlformats-officedocument.presentationml.notesSlide+xml"/>
  <Override PartName="/ppt/comments/modernComment_7FFFF2C6_7FA16CC5.xml" ContentType="application/vnd.ms-powerpoint.comments+xml"/>
  <Override PartName="/ppt/tags/tag102.xml" ContentType="application/vnd.openxmlformats-officedocument.presentationml.tags+xml"/>
  <Override PartName="/ppt/tags/tag103.xml" ContentType="application/vnd.openxmlformats-officedocument.presentationml.tags+xml"/>
  <Override PartName="/ppt/notesSlides/notesSlide9.xml" ContentType="application/vnd.openxmlformats-officedocument.presentationml.notesSlide+xml"/>
  <Override PartName="/ppt/comments/modernComment_7FFFF2C7_F6628273.xml" ContentType="application/vnd.ms-powerpoint.comments+xml"/>
  <Override PartName="/ppt/tags/tag104.xml" ContentType="application/vnd.openxmlformats-officedocument.presentationml.tags+xml"/>
  <Override PartName="/ppt/tags/tag105.xml" ContentType="application/vnd.openxmlformats-officedocument.presentationml.tags+xml"/>
  <Override PartName="/ppt/notesSlides/notesSlide10.xml" ContentType="application/vnd.openxmlformats-officedocument.presentationml.notesSlide+xml"/>
  <Override PartName="/ppt/comments/modernComment_7FFFF2C8_6E668FC4.xml" ContentType="application/vnd.ms-powerpoint.comments+xml"/>
  <Override PartName="/ppt/tags/tag106.xml" ContentType="application/vnd.openxmlformats-officedocument.presentationml.tags+xml"/>
  <Override PartName="/ppt/tags/tag107.xml" ContentType="application/vnd.openxmlformats-officedocument.presentationml.tags+xml"/>
  <Override PartName="/ppt/notesSlides/notesSlide11.xml" ContentType="application/vnd.openxmlformats-officedocument.presentationml.notesSlide+xml"/>
  <Override PartName="/ppt/comments/modernComment_7FFFF2C9_5C3A95B2.xml" ContentType="application/vnd.ms-powerpoint.comments+xml"/>
  <Override PartName="/ppt/tags/tag108.xml" ContentType="application/vnd.openxmlformats-officedocument.presentationml.tags+xml"/>
  <Override PartName="/ppt/tags/tag109.xml" ContentType="application/vnd.openxmlformats-officedocument.presentationml.tags+xml"/>
  <Override PartName="/ppt/notesSlides/notesSlide12.xml" ContentType="application/vnd.openxmlformats-officedocument.presentationml.notesSlide+xml"/>
  <Override PartName="/ppt/comments/modernComment_7FFFF2CA_1C43A7F3.xml" ContentType="application/vnd.ms-powerpoint.comments+xml"/>
  <Override PartName="/ppt/tags/tag110.xml" ContentType="application/vnd.openxmlformats-officedocument.presentationml.tags+xml"/>
  <Override PartName="/ppt/tags/tag111.xml" ContentType="application/vnd.openxmlformats-officedocument.presentationml.tags+xml"/>
  <Override PartName="/ppt/notesSlides/notesSlide13.xml" ContentType="application/vnd.openxmlformats-officedocument.presentationml.notesSlide+xml"/>
  <Override PartName="/ppt/comments/modernComment_7FFFF2CB_EBF2828.xml" ContentType="application/vnd.ms-powerpoint.comments+xml"/>
  <Override PartName="/ppt/tags/tag112.xml" ContentType="application/vnd.openxmlformats-officedocument.presentationml.tags+xml"/>
  <Override PartName="/ppt/tags/tag113.xml" ContentType="application/vnd.openxmlformats-officedocument.presentationml.tags+xml"/>
  <Override PartName="/ppt/notesSlides/notesSlide14.xml" ContentType="application/vnd.openxmlformats-officedocument.presentationml.notesSlide+xml"/>
  <Override PartName="/ppt/comments/modernComment_7FFFF2CC_B7CEB101.xml" ContentType="application/vnd.ms-powerpoint.comments+xml"/>
  <Override PartName="/ppt/notesSlides/notesSlide15.xml" ContentType="application/vnd.openxmlformats-officedocument.presentationml.notesSlide+xml"/>
  <Override PartName="/ppt/comments/modernComment_7FFFFFF1_2989EAEB.xml" ContentType="application/vnd.ms-powerpoint.comments+xml"/>
  <Override PartName="/ppt/notesSlides/notesSlide16.xml" ContentType="application/vnd.openxmlformats-officedocument.presentationml.notesSlide+xml"/>
  <Override PartName="/ppt/comments/modernComment_7FFFFFF2_C56859FF.xml" ContentType="application/vnd.ms-powerpoint.comments+xml"/>
  <Override PartName="/ppt/notesSlides/notesSlide17.xml" ContentType="application/vnd.openxmlformats-officedocument.presentationml.notesSlide+xml"/>
  <Override PartName="/ppt/comments/modernComment_7FFFFFF3_E8C2D4F9.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2"/>
  </p:sldMasterIdLst>
  <p:notesMasterIdLst>
    <p:notesMasterId r:id="rId33"/>
  </p:notesMasterIdLst>
  <p:handoutMasterIdLst>
    <p:handoutMasterId r:id="rId34"/>
  </p:handoutMasterIdLst>
  <p:sldIdLst>
    <p:sldId id="2147483637" r:id="rId13"/>
    <p:sldId id="2147481310" r:id="rId14"/>
    <p:sldId id="2147481385" r:id="rId15"/>
    <p:sldId id="2147483632" r:id="rId16"/>
    <p:sldId id="2147480249" r:id="rId17"/>
    <p:sldId id="2147480252" r:id="rId18"/>
    <p:sldId id="2147481311" r:id="rId19"/>
    <p:sldId id="2134804960" r:id="rId20"/>
    <p:sldId id="2147480260" r:id="rId21"/>
    <p:sldId id="2147480261" r:id="rId22"/>
    <p:sldId id="2147480262" r:id="rId23"/>
    <p:sldId id="2147480263" r:id="rId24"/>
    <p:sldId id="2147480264" r:id="rId25"/>
    <p:sldId id="2147480265" r:id="rId26"/>
    <p:sldId id="2147480266" r:id="rId27"/>
    <p:sldId id="2147480267" r:id="rId28"/>
    <p:sldId id="2147480268" r:id="rId29"/>
    <p:sldId id="2147483633" r:id="rId30"/>
    <p:sldId id="2147483634" r:id="rId31"/>
    <p:sldId id="2147483635" r:id="rId32"/>
  </p:sldIdLst>
  <p:sldSz cx="12192000" cy="6858000"/>
  <p:notesSz cx="6858000" cy="9144000"/>
  <p:embeddedFontLst>
    <p:embeddedFont>
      <p:font typeface="Apis For Office" panose="020B0604020202020204" charset="0"/>
      <p:regular r:id="rId35"/>
      <p:bold r:id="rId36"/>
      <p:italic r:id="rId37"/>
      <p:boldItalic r:id="rId38"/>
    </p:embeddedFont>
    <p:embeddedFont>
      <p:font typeface="Apis For Office Light" panose="020B0604020202020204" charset="0"/>
      <p:regular r:id="rId39"/>
      <p:bold r:id="rId40"/>
      <p:italic r:id="rId41"/>
      <p:boldItalic r:id="rId42"/>
    </p:embeddedFont>
    <p:embeddedFont>
      <p:font typeface="Segoe UI" panose="020B0502040204020203"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EP HFpEF" id="{D12D656D-4E24-4F8E-8380-49294FDD50AD}">
          <p14:sldIdLst>
            <p14:sldId id="2147483637"/>
          </p14:sldIdLst>
        </p14:section>
        <p14:section name="Disclosures" id="{A582751F-2B4D-496E-B273-72B9A8111B2D}">
          <p14:sldIdLst>
            <p14:sldId id="2147481310"/>
            <p14:sldId id="2147481385"/>
            <p14:sldId id="2147483632"/>
            <p14:sldId id="2147480249"/>
            <p14:sldId id="2147480252"/>
            <p14:sldId id="2147481311"/>
            <p14:sldId id="2134804960"/>
            <p14:sldId id="2147480260"/>
            <p14:sldId id="2147480261"/>
            <p14:sldId id="2147480262"/>
            <p14:sldId id="2147480263"/>
            <p14:sldId id="2147480264"/>
            <p14:sldId id="2147480265"/>
            <p14:sldId id="2147480266"/>
            <p14:sldId id="2147480267"/>
            <p14:sldId id="2147480268"/>
            <p14:sldId id="2147483633"/>
            <p14:sldId id="2147483634"/>
            <p14:sldId id="214748363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E33909-941C-0EC7-A531-449F656FBCBD}" name="CZCM (Camerra Miller)" initials="CM" userId="S::czcm@novonordisk.com::05f0d455-f9a3-4c11-b062-01c9c7dd85b4" providerId="AD"/>
  <p188:author id="{9A8FAE9E-F887-1AE8-953D-B505C9BE22BE}" name="CZCM (Camerra Miller)" initials="CM" userId="S::CZCM@novonordisk.com::05f0d455-f9a3-4c11-b062-01c9c7dd85b4" providerId="AD"/>
  <p188:author id="{4C9919B6-A2E7-E473-63DF-0EB4F88DBC12}" name="BRSZ (Gabriel Smolarz)" initials="GS" userId="S::BrSz@novonordisk.com::0bb70a97-6657-4730-aa20-f334c76ea336" providerId="AD"/>
  <p188:author id="{4FDAD1FA-C7F2-11BA-0F40-1B3EFCF41CD5}" name="CFTC (Christine Castro)" initials="CC" userId="S::CFTC@novonordisk.com::b8c332b1-2402-4bf3-8c14-70cbe1d76e55"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7843C5-7F7A-4E26-8098-7CFCF8846759}" v="2" dt="2026-06-03T17:54:07.1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44"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font" Target="fonts/font5.fntdata"/><Relationship Id="rId21" Type="http://schemas.openxmlformats.org/officeDocument/2006/relationships/slide" Target="slides/slide9.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font" Target="fonts/font2.fntdata"/><Relationship Id="rId49"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font" Target="fonts/font10.fntdata"/><Relationship Id="rId52"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viewProps" Target="viewProps.xml"/><Relationship Id="rId8" Type="http://schemas.openxmlformats.org/officeDocument/2006/relationships/customXml" Target="../customXml/item8.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0" Type="http://schemas.openxmlformats.org/officeDocument/2006/relationships/slide" Target="slides/slide8.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customXml" Target="../customXml/item6.xml"/></Relationships>
</file>

<file path=ppt/comments/modernComment_7F3E89E0_58E5EB88.xml><?xml version="1.0" encoding="utf-8"?>
<p188:cmLst xmlns:a="http://schemas.openxmlformats.org/drawingml/2006/main" xmlns:r="http://schemas.openxmlformats.org/officeDocument/2006/relationships" xmlns:p188="http://schemas.microsoft.com/office/powerpoint/2018/8/main">
  <p188:cm id="{1653E573-7CC2-49ED-89AE-2A82E028C752}" authorId="{4FDAD1FA-C7F2-11BA-0F40-1B3EFCF41CD5}" status="resolved" created="2026-06-01T16:41:23.900" complete="100000">
    <ac:deMkLst xmlns:ac="http://schemas.microsoft.com/office/drawing/2013/main/command">
      <pc:docMk xmlns:pc="http://schemas.microsoft.com/office/powerpoint/2013/main/command"/>
      <pc:sldMk xmlns:pc="http://schemas.microsoft.com/office/powerpoint/2013/main/command" cId="1491463048" sldId="2134804960"/>
      <ac:picMk id="5" creationId="{122C1A6C-EDFB-EA11-63BB-47BF9B131994}"/>
    </ac:deMkLst>
    <p188:txBody>
      <a:bodyPr/>
      <a:lstStyle/>
      <a:p>
        <a:r>
          <a:rPr lang="en-US"/>
          <a:t>https://www.novo-pi.com/wegovy.pdf</a:t>
        </a:r>
      </a:p>
    </p188:txBody>
  </p188:cm>
</p188:cmLst>
</file>

<file path=ppt/comments/modernComment_7FFFF2B9_32130B04.xml><?xml version="1.0" encoding="utf-8"?>
<p188:cmLst xmlns:a="http://schemas.openxmlformats.org/drawingml/2006/main" xmlns:r="http://schemas.openxmlformats.org/officeDocument/2006/relationships" xmlns:p188="http://schemas.microsoft.com/office/powerpoint/2018/8/main">
  <p188:cm id="{2B0099FD-FA72-4E63-A858-2115C5EFA7CC}" authorId="{4FDAD1FA-C7F2-11BA-0F40-1B3EFCF41CD5}" status="resolved" created="2026-06-01T16:41:02.308" complete="100000">
    <ac:deMkLst xmlns:ac="http://schemas.microsoft.com/office/drawing/2013/main/command">
      <pc:docMk xmlns:pc="http://schemas.microsoft.com/office/powerpoint/2013/main/command"/>
      <pc:sldMk xmlns:pc="http://schemas.microsoft.com/office/powerpoint/2013/main/command" cId="840108804" sldId="2147480249"/>
      <ac:picMk id="7" creationId="{D486F368-275A-6C62-FAA4-A1A688C60899}"/>
    </ac:deMkLst>
    <p188:txBody>
      <a:bodyPr/>
      <a:lstStyle/>
      <a:p>
        <a:r>
          <a:rPr lang="en-US"/>
          <a:t>https://www.novo-pi.com/wegovy.pdf</a:t>
        </a:r>
      </a:p>
    </p188:txBody>
  </p188:cm>
</p188:cmLst>
</file>

<file path=ppt/comments/modernComment_7FFFF2BC_BE380BF1.xml><?xml version="1.0" encoding="utf-8"?>
<p188:cmLst xmlns:a="http://schemas.openxmlformats.org/drawingml/2006/main" xmlns:r="http://schemas.openxmlformats.org/officeDocument/2006/relationships" xmlns:p188="http://schemas.microsoft.com/office/powerpoint/2018/8/main">
  <p188:cm id="{A0B1F964-2ED5-448C-9395-FB8DBBBCC148}" authorId="{4FDAD1FA-C7F2-11BA-0F40-1B3EFCF41CD5}" status="resolved" created="2026-06-01T16:41:09.526" complete="100000">
    <ac:deMkLst xmlns:ac="http://schemas.microsoft.com/office/drawing/2013/main/command">
      <pc:docMk xmlns:pc="http://schemas.microsoft.com/office/powerpoint/2013/main/command"/>
      <pc:sldMk xmlns:pc="http://schemas.microsoft.com/office/powerpoint/2013/main/command" cId="3191344113" sldId="2147480252"/>
      <ac:picMk id="9" creationId="{C68A37D2-ED26-2EF2-079C-C5F526366EAE}"/>
    </ac:deMkLst>
    <p188:txBody>
      <a:bodyPr/>
      <a:lstStyle/>
      <a:p>
        <a:r>
          <a:rPr lang="en-US"/>
          <a:t>https://www.novo-pi.com/wegovy.pdf</a:t>
        </a:r>
      </a:p>
    </p188:txBody>
  </p188:cm>
</p188:cmLst>
</file>

<file path=ppt/comments/modernComment_7FFFF2C4_FA2E14E1.xml><?xml version="1.0" encoding="utf-8"?>
<p188:cmLst xmlns:a="http://schemas.openxmlformats.org/drawingml/2006/main" xmlns:r="http://schemas.openxmlformats.org/officeDocument/2006/relationships" xmlns:p188="http://schemas.microsoft.com/office/powerpoint/2018/8/main">
  <p188:cm id="{7E220A64-6572-414D-9081-DC36486864D1}" authorId="{4FDAD1FA-C7F2-11BA-0F40-1B3EFCF41CD5}" status="resolved" created="2026-06-01T16:41:32.588" complete="100000">
    <ac:deMkLst xmlns:ac="http://schemas.microsoft.com/office/drawing/2013/main/command">
      <pc:docMk xmlns:pc="http://schemas.microsoft.com/office/powerpoint/2013/main/command"/>
      <pc:sldMk xmlns:pc="http://schemas.microsoft.com/office/powerpoint/2013/main/command" cId="4197324001" sldId="2147480260"/>
      <ac:picMk id="9" creationId="{FABA908C-CA96-395C-064F-34385A78A3A4}"/>
    </ac:deMkLst>
    <p188:txBody>
      <a:bodyPr/>
      <a:lstStyle/>
      <a:p>
        <a:r>
          <a:rPr lang="en-US"/>
          <a:t>https://www.novo-pi.com/wegovy.pdf</a:t>
        </a:r>
      </a:p>
    </p188:txBody>
  </p188:cm>
</p188:cmLst>
</file>

<file path=ppt/comments/modernComment_7FFFF2C5_58D8BAA2.xml><?xml version="1.0" encoding="utf-8"?>
<p188:cmLst xmlns:a="http://schemas.openxmlformats.org/drawingml/2006/main" xmlns:r="http://schemas.openxmlformats.org/officeDocument/2006/relationships" xmlns:p188="http://schemas.microsoft.com/office/powerpoint/2018/8/main">
  <p188:cm id="{CC8264F3-A546-4C79-BAB2-EC5F6B4D0BF2}" authorId="{4FDAD1FA-C7F2-11BA-0F40-1B3EFCF41CD5}" status="resolved" created="2026-06-01T16:41:38.533" complete="100000">
    <ac:deMkLst xmlns:ac="http://schemas.microsoft.com/office/drawing/2013/main/command">
      <pc:docMk xmlns:pc="http://schemas.microsoft.com/office/powerpoint/2013/main/command"/>
      <pc:sldMk xmlns:pc="http://schemas.microsoft.com/office/powerpoint/2013/main/command" cId="1490598562" sldId="2147480261"/>
      <ac:picMk id="7" creationId="{E7CC845F-B712-C2B6-E959-FFD4A48C5DFE}"/>
    </ac:deMkLst>
    <p188:txBody>
      <a:bodyPr/>
      <a:lstStyle/>
      <a:p>
        <a:r>
          <a:rPr lang="en-US"/>
          <a:t>https://www.novo-pi.com/wegovy.pdf</a:t>
        </a:r>
      </a:p>
    </p188:txBody>
  </p188:cm>
</p188:cmLst>
</file>

<file path=ppt/comments/modernComment_7FFFF2C6_7FA16CC5.xml><?xml version="1.0" encoding="utf-8"?>
<p188:cmLst xmlns:a="http://schemas.openxmlformats.org/drawingml/2006/main" xmlns:r="http://schemas.openxmlformats.org/officeDocument/2006/relationships" xmlns:p188="http://schemas.microsoft.com/office/powerpoint/2018/8/main">
  <p188:cm id="{2B130EEB-4390-4C0C-A037-B7B23E4A01D6}" authorId="{4FDAD1FA-C7F2-11BA-0F40-1B3EFCF41CD5}" status="resolved" created="2026-06-01T16:41:44.723" complete="100000">
    <ac:deMkLst xmlns:ac="http://schemas.microsoft.com/office/drawing/2013/main/command">
      <pc:docMk xmlns:pc="http://schemas.microsoft.com/office/powerpoint/2013/main/command"/>
      <pc:sldMk xmlns:pc="http://schemas.microsoft.com/office/powerpoint/2013/main/command" cId="2141285573" sldId="2147480262"/>
      <ac:picMk id="8" creationId="{43FE342A-0613-1BAC-4E5F-FECEE6592458}"/>
    </ac:deMkLst>
    <p188:txBody>
      <a:bodyPr/>
      <a:lstStyle/>
      <a:p>
        <a:r>
          <a:rPr lang="en-US"/>
          <a:t>https://www.novo-pi.com/wegovy.pdf</a:t>
        </a:r>
      </a:p>
    </p188:txBody>
  </p188:cm>
</p188:cmLst>
</file>

<file path=ppt/comments/modernComment_7FFFF2C7_F6628273.xml><?xml version="1.0" encoding="utf-8"?>
<p188:cmLst xmlns:a="http://schemas.openxmlformats.org/drawingml/2006/main" xmlns:r="http://schemas.openxmlformats.org/officeDocument/2006/relationships" xmlns:p188="http://schemas.microsoft.com/office/powerpoint/2018/8/main">
  <p188:cm id="{E6D870F3-3B93-4DFE-A2AC-B613E0837DB9}" authorId="{4FDAD1FA-C7F2-11BA-0F40-1B3EFCF41CD5}" status="resolved" created="2026-06-01T16:41:51.711" complete="100000">
    <ac:deMkLst xmlns:ac="http://schemas.microsoft.com/office/drawing/2013/main/command">
      <pc:docMk xmlns:pc="http://schemas.microsoft.com/office/powerpoint/2013/main/command"/>
      <pc:sldMk xmlns:pc="http://schemas.microsoft.com/office/powerpoint/2013/main/command" cId="4133651059" sldId="2147480263"/>
      <ac:picMk id="6" creationId="{05C57764-925B-AF48-53C7-7DCBF2B23FCA}"/>
    </ac:deMkLst>
    <p188:txBody>
      <a:bodyPr/>
      <a:lstStyle/>
      <a:p>
        <a:r>
          <a:rPr lang="en-US"/>
          <a:t>https://www.novo-pi.com/wegovy.pdf</a:t>
        </a:r>
      </a:p>
    </p188:txBody>
  </p188:cm>
</p188:cmLst>
</file>

<file path=ppt/comments/modernComment_7FFFF2C8_6E668FC4.xml><?xml version="1.0" encoding="utf-8"?>
<p188:cmLst xmlns:a="http://schemas.openxmlformats.org/drawingml/2006/main" xmlns:r="http://schemas.openxmlformats.org/officeDocument/2006/relationships" xmlns:p188="http://schemas.microsoft.com/office/powerpoint/2018/8/main">
  <p188:cm id="{66E7FA47-ADDC-4FB6-A9B8-D682948E2EAB}" authorId="{4FDAD1FA-C7F2-11BA-0F40-1B3EFCF41CD5}" status="resolved" created="2026-06-01T16:41:59.172" complete="100000">
    <ac:deMkLst xmlns:ac="http://schemas.microsoft.com/office/drawing/2013/main/command">
      <pc:docMk xmlns:pc="http://schemas.microsoft.com/office/powerpoint/2013/main/command"/>
      <pc:sldMk xmlns:pc="http://schemas.microsoft.com/office/powerpoint/2013/main/command" cId="1852215236" sldId="2147480264"/>
      <ac:picMk id="8" creationId="{AF4B2E29-B9E0-C64E-C6DF-768D86776C5C}"/>
    </ac:deMkLst>
    <p188:txBody>
      <a:bodyPr/>
      <a:lstStyle/>
      <a:p>
        <a:r>
          <a:rPr lang="en-US"/>
          <a:t>https://www.novo-pi.com/wegovy.pdf</a:t>
        </a:r>
      </a:p>
    </p188:txBody>
  </p188:cm>
</p188:cmLst>
</file>

<file path=ppt/comments/modernComment_7FFFF2C9_5C3A95B2.xml><?xml version="1.0" encoding="utf-8"?>
<p188:cmLst xmlns:a="http://schemas.openxmlformats.org/drawingml/2006/main" xmlns:r="http://schemas.openxmlformats.org/officeDocument/2006/relationships" xmlns:p188="http://schemas.microsoft.com/office/powerpoint/2018/8/main">
  <p188:cm id="{C0D1574B-B620-4D1C-BCD9-C1C25632F74E}" authorId="{4FDAD1FA-C7F2-11BA-0F40-1B3EFCF41CD5}" status="resolved" created="2026-06-01T16:42:07.260" complete="100000">
    <ac:deMkLst xmlns:ac="http://schemas.microsoft.com/office/drawing/2013/main/command">
      <pc:docMk xmlns:pc="http://schemas.microsoft.com/office/powerpoint/2013/main/command"/>
      <pc:sldMk xmlns:pc="http://schemas.microsoft.com/office/powerpoint/2013/main/command" cId="1547343282" sldId="2147480265"/>
      <ac:picMk id="6" creationId="{84BE600B-BB14-FB1B-BCF1-6F9999AB1ECB}"/>
    </ac:deMkLst>
    <p188:txBody>
      <a:bodyPr/>
      <a:lstStyle/>
      <a:p>
        <a:r>
          <a:rPr lang="en-US"/>
          <a:t>https://www.novo-pi.com/wegovy.pdf</a:t>
        </a:r>
      </a:p>
    </p188:txBody>
  </p188:cm>
</p188:cmLst>
</file>

<file path=ppt/comments/modernComment_7FFFF2CA_1C43A7F3.xml><?xml version="1.0" encoding="utf-8"?>
<p188:cmLst xmlns:a="http://schemas.openxmlformats.org/drawingml/2006/main" xmlns:r="http://schemas.openxmlformats.org/officeDocument/2006/relationships" xmlns:p188="http://schemas.microsoft.com/office/powerpoint/2018/8/main">
  <p188:cm id="{D60B103A-D825-47FE-B4CF-4AF7BC067F78}" authorId="{4FDAD1FA-C7F2-11BA-0F40-1B3EFCF41CD5}" status="resolved" created="2026-06-01T16:42:14.135" complete="100000">
    <ac:deMkLst xmlns:ac="http://schemas.microsoft.com/office/drawing/2013/main/command">
      <pc:docMk xmlns:pc="http://schemas.microsoft.com/office/powerpoint/2013/main/command"/>
      <pc:sldMk xmlns:pc="http://schemas.microsoft.com/office/powerpoint/2013/main/command" cId="474195955" sldId="2147480266"/>
      <ac:picMk id="6" creationId="{201EA4EB-E283-9135-ADBB-382C20F4EAD7}"/>
    </ac:deMkLst>
    <p188:txBody>
      <a:bodyPr/>
      <a:lstStyle/>
      <a:p>
        <a:r>
          <a:rPr lang="en-US"/>
          <a:t>https://www.novo-pi.com/wegovy.pdf</a:t>
        </a:r>
      </a:p>
    </p188:txBody>
  </p188:cm>
</p188:cmLst>
</file>

<file path=ppt/comments/modernComment_7FFFF2CB_EBF2828.xml><?xml version="1.0" encoding="utf-8"?>
<p188:cmLst xmlns:a="http://schemas.openxmlformats.org/drawingml/2006/main" xmlns:r="http://schemas.openxmlformats.org/officeDocument/2006/relationships" xmlns:p188="http://schemas.microsoft.com/office/powerpoint/2018/8/main">
  <p188:cm id="{05A0BE56-3BDA-4CF2-B784-C6D9914DDEFE}" authorId="{4FDAD1FA-C7F2-11BA-0F40-1B3EFCF41CD5}" status="resolved" created="2026-06-01T16:42:19.613" complete="100000">
    <ac:deMkLst xmlns:ac="http://schemas.microsoft.com/office/drawing/2013/main/command">
      <pc:docMk xmlns:pc="http://schemas.microsoft.com/office/powerpoint/2013/main/command"/>
      <pc:sldMk xmlns:pc="http://schemas.microsoft.com/office/powerpoint/2013/main/command" cId="247408680" sldId="2147480267"/>
      <ac:picMk id="6" creationId="{738839B2-4FF6-63E6-D402-9ACF556BEE8F}"/>
    </ac:deMkLst>
    <p188:txBody>
      <a:bodyPr/>
      <a:lstStyle/>
      <a:p>
        <a:r>
          <a:rPr lang="en-US"/>
          <a:t>https://www.novo-pi.com/wegovy.pdf</a:t>
        </a:r>
      </a:p>
    </p188:txBody>
  </p188:cm>
</p188:cmLst>
</file>

<file path=ppt/comments/modernComment_7FFFF2CC_B7CEB101.xml><?xml version="1.0" encoding="utf-8"?>
<p188:cmLst xmlns:a="http://schemas.openxmlformats.org/drawingml/2006/main" xmlns:r="http://schemas.openxmlformats.org/officeDocument/2006/relationships" xmlns:p188="http://schemas.microsoft.com/office/powerpoint/2018/8/main">
  <p188:cm id="{462B10FA-7369-4864-88CA-1B7AD4123538}" authorId="{4FDAD1FA-C7F2-11BA-0F40-1B3EFCF41CD5}" status="resolved" created="2026-06-01T16:42:28.098" complete="100000">
    <ac:deMkLst xmlns:ac="http://schemas.microsoft.com/office/drawing/2013/main/command">
      <pc:docMk xmlns:pc="http://schemas.microsoft.com/office/powerpoint/2013/main/command"/>
      <pc:sldMk xmlns:pc="http://schemas.microsoft.com/office/powerpoint/2013/main/command" cId="3083776257" sldId="2147480268"/>
      <ac:picMk id="7" creationId="{F63226CD-B8BB-0478-238C-3FD7A6E4ACB2}"/>
    </ac:deMkLst>
    <p188:txBody>
      <a:bodyPr/>
      <a:lstStyle/>
      <a:p>
        <a:r>
          <a:rPr lang="en-US"/>
          <a:t>https://www.novo-pi.com/wegovy.pdf</a:t>
        </a:r>
      </a:p>
    </p188:txBody>
  </p188:cm>
</p188:cmLst>
</file>

<file path=ppt/comments/modernComment_7FFFF6DE_92B3E245.xml><?xml version="1.0" encoding="utf-8"?>
<p188:cmLst xmlns:a="http://schemas.openxmlformats.org/drawingml/2006/main" xmlns:r="http://schemas.openxmlformats.org/officeDocument/2006/relationships" xmlns:p188="http://schemas.microsoft.com/office/powerpoint/2018/8/main">
  <p188:cm id="{E54CDBA6-DB5B-4486-97C2-47AC758CB872}" authorId="{4FDAD1FA-C7F2-11BA-0F40-1B3EFCF41CD5}" status="resolved" created="2026-05-20T15:59:56.689" complete="100000">
    <pc:sldMkLst xmlns:pc="http://schemas.microsoft.com/office/powerpoint/2013/main/command">
      <pc:docMk/>
      <pc:sldMk cId="2461262405" sldId="2147481310"/>
    </pc:sldMkLst>
    <p188:replyLst>
      <p188:reply id="{0E4C21D9-EBCF-40A1-9034-FE69FA5B734C}" authorId="{85E33909-941C-0EC7-A531-449F656FBCBD}" created="2026-05-21T15:46:42.735">
        <p188:txBody>
          <a:bodyPr/>
          <a:lstStyle/>
          <a:p>
            <a:r>
              <a:rPr lang="en-GB"/>
              <a:t>[@CFTC (Christine Castro)] both the QR code &amp; link work</a:t>
            </a:r>
          </a:p>
        </p188:txBody>
      </p188:reply>
    </p188:replyLst>
    <p188:txBody>
      <a:bodyPr/>
      <a:lstStyle/>
      <a:p>
        <a:r>
          <a:rPr lang="en-US"/>
          <a:t>Need to confirm all accurate and working</a:t>
        </a:r>
      </a:p>
    </p188:txBody>
  </p188:cm>
  <p188:cm id="{C61B373A-4A1F-43A7-9D7D-86760BB27F43}" authorId="{4FDAD1FA-C7F2-11BA-0F40-1B3EFCF41CD5}" status="resolved" created="2026-06-01T16:40:23.416" complete="100000">
    <ac:deMkLst xmlns:ac="http://schemas.microsoft.com/office/drawing/2013/main/command">
      <pc:docMk xmlns:pc="http://schemas.microsoft.com/office/powerpoint/2013/main/command"/>
      <pc:sldMk xmlns:pc="http://schemas.microsoft.com/office/powerpoint/2013/main/command" cId="2461262405" sldId="2147481310"/>
      <ac:grpSpMk id="15" creationId="{4F5369FE-E76F-7157-69C8-40E9B92A6DCA}"/>
    </ac:deMkLst>
    <p188:txBody>
      <a:bodyPr/>
      <a:lstStyle/>
      <a:p>
        <a:r>
          <a:rPr lang="en-US"/>
          <a:t>https://www.novo-pi.com/wegovy.pdf</a:t>
        </a:r>
      </a:p>
    </p188:txBody>
    <p188:extLst>
      <p:ext xmlns:p="http://schemas.openxmlformats.org/presentationml/2006/main" uri="{57CB4572-C831-44C2-8A1C-0ADB6CCDFE69}">
        <p223:reactions xmlns:p223="http://schemas.microsoft.com/office/powerpoint/2022/03/main">
          <p223:rxn type="👍">
            <p223:instance time="2026-06-01T19:24:13.264" authorId="{85E33909-941C-0EC7-A531-449F656FBCBD}"/>
          </p223:rxn>
        </p223:reactions>
      </p:ext>
    </p188:extLst>
  </p188:cm>
</p188:cmLst>
</file>

<file path=ppt/comments/modernComment_7FFFF6DF_F879CB04.xml><?xml version="1.0" encoding="utf-8"?>
<p188:cmLst xmlns:a="http://schemas.openxmlformats.org/drawingml/2006/main" xmlns:r="http://schemas.openxmlformats.org/officeDocument/2006/relationships" xmlns:p188="http://schemas.microsoft.com/office/powerpoint/2018/8/main">
  <p188:cm id="{07F69F40-C90A-441C-BD74-7C43744A6E88}" authorId="{4FDAD1FA-C7F2-11BA-0F40-1B3EFCF41CD5}" status="resolved" created="2026-06-01T16:41:17.501" complete="100000">
    <ac:deMkLst xmlns:ac="http://schemas.microsoft.com/office/drawing/2013/main/command">
      <pc:docMk xmlns:pc="http://schemas.microsoft.com/office/powerpoint/2013/main/command"/>
      <pc:sldMk xmlns:pc="http://schemas.microsoft.com/office/powerpoint/2013/main/command" cId="4168731396" sldId="2147481311"/>
      <ac:picMk id="6" creationId="{4A8077E3-3639-8879-EEE9-C6E4C503BAE7}"/>
    </ac:deMkLst>
    <p188:txBody>
      <a:bodyPr/>
      <a:lstStyle/>
      <a:p>
        <a:r>
          <a:rPr lang="en-US"/>
          <a:t>https://www.novo-pi.com/wegovy.pdf</a:t>
        </a:r>
      </a:p>
    </p188:txBody>
  </p188:cm>
</p188:cmLst>
</file>

<file path=ppt/comments/modernComment_7FFFF729_2749BB20.xml><?xml version="1.0" encoding="utf-8"?>
<p188:cmLst xmlns:a="http://schemas.openxmlformats.org/drawingml/2006/main" xmlns:r="http://schemas.openxmlformats.org/officeDocument/2006/relationships" xmlns:p188="http://schemas.microsoft.com/office/powerpoint/2018/8/main">
  <p188:cm id="{2F09B675-A1EA-4508-85C4-B26606694C8A}" authorId="{4FDAD1FA-C7F2-11BA-0F40-1B3EFCF41CD5}" status="resolved" created="2026-06-01T16:40:42.244" complete="100000">
    <ac:deMkLst xmlns:ac="http://schemas.microsoft.com/office/drawing/2013/main/command">
      <pc:docMk xmlns:pc="http://schemas.microsoft.com/office/powerpoint/2013/main/command"/>
      <pc:sldMk xmlns:pc="http://schemas.microsoft.com/office/powerpoint/2013/main/command" cId="659143456" sldId="2147481385"/>
      <ac:picMk id="10" creationId="{E12A8BE0-ACE0-93AC-66A7-C31C349E343A}"/>
    </ac:deMkLst>
    <p188:txBody>
      <a:bodyPr/>
      <a:lstStyle/>
      <a:p>
        <a:r>
          <a:rPr lang="en-US"/>
          <a:t>https://www.novo-pi.com/wegovy.pdf</a:t>
        </a:r>
      </a:p>
    </p188:txBody>
  </p188:cm>
  <p188:cm id="{CD1A7253-4991-4F56-9CC2-F1279B706592}" authorId="{85E33909-941C-0EC7-A531-449F656FBCBD}" created="2026-06-02T16:47:23.018">
    <ac:deMkLst xmlns:ac="http://schemas.microsoft.com/office/drawing/2013/main/command">
      <pc:docMk xmlns:pc="http://schemas.microsoft.com/office/powerpoint/2013/main/command"/>
      <pc:sldMk xmlns:pc="http://schemas.microsoft.com/office/powerpoint/2013/main/command" cId="659143456" sldId="2147481385"/>
      <ac:picMk id="11" creationId="{C3B3DD47-DA59-6739-968A-4D534D405845}"/>
    </ac:deMkLst>
    <p188:txBody>
      <a:bodyPr/>
      <a:lstStyle/>
      <a:p>
        <a:r>
          <a:rPr lang="en-GB"/>
          <a:t>I updated QR code</a:t>
        </a:r>
      </a:p>
    </p188:txBody>
  </p188:cm>
</p188:cmLst>
</file>

<file path=ppt/comments/modernComment_7FFFFFF0_1F3408CC.xml><?xml version="1.0" encoding="utf-8"?>
<p188:cmLst xmlns:a="http://schemas.openxmlformats.org/drawingml/2006/main" xmlns:r="http://schemas.openxmlformats.org/officeDocument/2006/relationships" xmlns:p188="http://schemas.microsoft.com/office/powerpoint/2018/8/main">
  <p188:cm id="{A071B85A-B7FD-4329-ACC6-85F6E62671E9}" authorId="{4FDAD1FA-C7F2-11BA-0F40-1B3EFCF41CD5}" status="resolved" created="2026-06-01T16:40:56.126" complete="100000">
    <ac:deMkLst xmlns:ac="http://schemas.microsoft.com/office/drawing/2013/main/command">
      <pc:docMk xmlns:pc="http://schemas.microsoft.com/office/powerpoint/2013/main/command"/>
      <pc:sldMk xmlns:pc="http://schemas.microsoft.com/office/powerpoint/2013/main/command" cId="523503820" sldId="2147483632"/>
      <ac:picMk id="6" creationId="{7389D4CC-8EE6-71E2-1227-F418C04BDC6E}"/>
    </ac:deMkLst>
    <p188:txBody>
      <a:bodyPr/>
      <a:lstStyle/>
      <a:p>
        <a:r>
          <a:rPr lang="en-US"/>
          <a:t>https://www.novo-pi.com/wegovy.pdf</a:t>
        </a:r>
      </a:p>
    </p188:txBody>
  </p188:cm>
</p188:cmLst>
</file>

<file path=ppt/comments/modernComment_7FFFFFF1_2989EAEB.xml><?xml version="1.0" encoding="utf-8"?>
<p188:cmLst xmlns:a="http://schemas.openxmlformats.org/drawingml/2006/main" xmlns:r="http://schemas.openxmlformats.org/officeDocument/2006/relationships" xmlns:p188="http://schemas.microsoft.com/office/powerpoint/2018/8/main">
  <p188:cm id="{47A0F972-1D8B-4CB1-A1F8-D3FC45F3D5ED}" authorId="{4FDAD1FA-C7F2-11BA-0F40-1B3EFCF41CD5}" status="resolved" created="2026-05-29T00:14:44.980" complete="100000">
    <ac:deMkLst xmlns:ac="http://schemas.microsoft.com/office/drawing/2013/main/command">
      <pc:docMk xmlns:pc="http://schemas.microsoft.com/office/powerpoint/2013/main/command"/>
      <pc:sldMk xmlns:pc="http://schemas.microsoft.com/office/powerpoint/2013/main/command" cId="696904427" sldId="2147483633"/>
      <ac:spMk id="4" creationId="{BE46B699-4F5A-9815-FC4D-71945D9CC1F4}"/>
    </ac:deMkLst>
    <p188:txBody>
      <a:bodyPr/>
      <a:lstStyle/>
      <a:p>
        <a:r>
          <a:rPr lang="en-US"/>
          <a:t>I think this citation is incorrect</a:t>
        </a:r>
      </a:p>
    </p188:txBody>
  </p188:cm>
</p188:cmLst>
</file>

<file path=ppt/comments/modernComment_7FFFFFF2_C56859FF.xml><?xml version="1.0" encoding="utf-8"?>
<p188:cmLst xmlns:a="http://schemas.openxmlformats.org/drawingml/2006/main" xmlns:r="http://schemas.openxmlformats.org/officeDocument/2006/relationships" xmlns:p188="http://schemas.microsoft.com/office/powerpoint/2018/8/main">
  <p188:cm id="{4D5DACA2-E642-4764-B0E2-F5742DF2C23F}" authorId="{4FDAD1FA-C7F2-11BA-0F40-1B3EFCF41CD5}" status="resolved" created="2026-05-29T00:14:53.912" complete="100000">
    <ac:deMkLst xmlns:ac="http://schemas.microsoft.com/office/drawing/2013/main/command">
      <pc:docMk xmlns:pc="http://schemas.microsoft.com/office/powerpoint/2013/main/command"/>
      <pc:sldMk xmlns:pc="http://schemas.microsoft.com/office/powerpoint/2013/main/command" cId="3311950335" sldId="2147483634"/>
      <ac:spMk id="2" creationId="{3CB19A64-C886-C712-CAD8-ACE1BABE6D51}"/>
    </ac:deMkLst>
    <p188:txBody>
      <a:bodyPr/>
      <a:lstStyle/>
      <a:p>
        <a:r>
          <a:rPr lang="en-US"/>
          <a:t>Update citation</a:t>
        </a:r>
      </a:p>
    </p188:txBody>
  </p188:cm>
</p188:cmLst>
</file>

<file path=ppt/comments/modernComment_7FFFFFF3_E8C2D4F9.xml><?xml version="1.0" encoding="utf-8"?>
<p188:cmLst xmlns:a="http://schemas.openxmlformats.org/drawingml/2006/main" xmlns:r="http://schemas.openxmlformats.org/officeDocument/2006/relationships" xmlns:p188="http://schemas.microsoft.com/office/powerpoint/2018/8/main">
  <p188:cm id="{D520C7AF-52E8-4EA1-9272-4C159C4E555C}" authorId="{4FDAD1FA-C7F2-11BA-0F40-1B3EFCF41CD5}" status="resolved" created="2026-05-29T00:15:14.509" complete="100000">
    <ac:deMkLst xmlns:ac="http://schemas.microsoft.com/office/drawing/2013/main/command">
      <pc:docMk xmlns:pc="http://schemas.microsoft.com/office/powerpoint/2013/main/command"/>
      <pc:sldMk xmlns:pc="http://schemas.microsoft.com/office/powerpoint/2013/main/command" cId="3905082617" sldId="2147483635"/>
      <ac:spMk id="5" creationId="{B873A704-BF81-9F4F-4352-D6004FA8B54A}"/>
    </ac:deMkLst>
    <p188:replyLst>
      <p188:reply id="{43631B5E-A93D-4A39-AA72-7DC8091F663A}" authorId="{85E33909-941C-0EC7-A531-449F656FBCBD}" created="2026-05-29T12:29:23.781">
        <p188:txBody>
          <a:bodyPr/>
          <a:lstStyle/>
          <a:p>
            <a:r>
              <a:rPr lang="en-GB"/>
              <a:t>This one is correct &amp; I corrected the first 2</a:t>
            </a:r>
          </a:p>
        </p188:txBody>
      </p188:reply>
    </p188:replyLst>
    <p188:txBody>
      <a:bodyPr/>
      <a:lstStyle/>
      <a:p>
        <a:r>
          <a:rPr lang="en-US"/>
          <a:t>Please confirm correct citation</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5/06/2026</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 note</a:t>
            </a:r>
          </a:p>
          <a:p>
            <a:pPr lvl="6"/>
            <a:r>
              <a:rPr lang="en-US"/>
              <a:t>7 level</a:t>
            </a:r>
          </a:p>
          <a:p>
            <a:pPr lvl="7"/>
            <a:r>
              <a:rPr lang="en-US"/>
              <a:t>8 level</a:t>
            </a:r>
          </a:p>
          <a:p>
            <a:pPr lvl="8"/>
            <a:r>
              <a:rPr lang="en-US"/>
              <a:t>9 header	</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5/06/2026</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Char char="​"/>
      <a:defRPr sz="1200" kern="1200">
        <a:solidFill>
          <a:schemeClr val="tx1"/>
        </a:solidFill>
        <a:latin typeface="+mn-lt"/>
        <a:ea typeface="+mn-ea"/>
        <a:cs typeface="+mn-cs"/>
      </a:defRPr>
    </a:lvl1pPr>
    <a:lvl2pPr marL="0"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buFont typeface="Arial" panose="020B0604020202020204" pitchFamily="34" charset="0"/>
      <a:buChar char="​"/>
      <a:defRPr sz="1400" b="1" kern="1200">
        <a:solidFill>
          <a:schemeClr val="tx1"/>
        </a:solidFill>
        <a:latin typeface="+mn-lt"/>
        <a:ea typeface="+mn-ea"/>
        <a:cs typeface="+mn-cs"/>
      </a:defRPr>
    </a:lvl4pPr>
    <a:lvl5pPr marL="0" indent="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indent="-2286000" algn="l" defTabSz="914400" rtl="0" eaLnBrk="1" latinLnBrk="0" hangingPunct="1">
      <a:defRPr sz="800" kern="1200">
        <a:solidFill>
          <a:schemeClr val="tx1"/>
        </a:solidFill>
        <a:latin typeface="+mn-lt"/>
        <a:ea typeface="+mn-ea"/>
        <a:cs typeface="+mn-cs"/>
      </a:defRPr>
    </a:lvl6pPr>
    <a:lvl7pPr marL="0" indent="-90000" algn="l" defTabSz="914400" rtl="0" eaLnBrk="1" latinLnBrk="0" hangingPunct="1">
      <a:buFont typeface="Arial" panose="020B0604020202020204" pitchFamily="34" charset="0"/>
      <a:buChar char="•"/>
      <a:defRPr sz="800" kern="1200">
        <a:solidFill>
          <a:schemeClr val="tx1"/>
        </a:solidFill>
        <a:latin typeface="+mn-lt"/>
        <a:ea typeface="+mn-ea"/>
        <a:cs typeface="+mn-cs"/>
      </a:defRPr>
    </a:lvl7pPr>
    <a:lvl8pPr marL="180000" indent="-90000" algn="l" defTabSz="914400" rtl="0" eaLnBrk="1" latinLnBrk="0" hangingPunct="1">
      <a:buFont typeface="Arial" panose="020B0604020202020204" pitchFamily="34" charset="0"/>
      <a:buChar char="•"/>
      <a:defRPr sz="800" kern="1200">
        <a:solidFill>
          <a:schemeClr val="tx1"/>
        </a:solidFill>
        <a:latin typeface="+mn-lt"/>
        <a:ea typeface="+mn-ea"/>
        <a:cs typeface="+mn-cs"/>
      </a:defRPr>
    </a:lvl8pPr>
    <a:lvl9pPr marL="0" indent="0" algn="l" defTabSz="914400" rtl="0" eaLnBrk="1" latinLnBrk="0" hangingPunct="1">
      <a:buFont typeface="Arial" panose="020B0604020202020204" pitchFamily="34" charset="0"/>
      <a:buChar char="​"/>
      <a:defRPr sz="800" b="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novonordisknam.sharepoint.com/:b:/r/sites/NNIMedicalOmnichannelEngagementTeam-03-TeamCollaborationInternal/Shared%20Documents/00%20-%20Team%20Collaboration%20(Internal)/SIUU/Templates%20and%20Guidance%20-%20SIUU/FDA%20Guidance%20SIuU.pdf?csf=1&amp;web=1&amp;e=tGt6xB"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FDA Guidance SIuU.pdf</a:t>
            </a:r>
            <a:endParaRPr lang="en-US"/>
          </a:p>
          <a:p>
            <a:endParaRPr lang="en-US"/>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2805246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Unless indicated, the </a:t>
            </a:r>
            <a:r>
              <a:rPr lang="en-GB" sz="1200" b="0" i="0" u="none" strike="noStrike" kern="1200" baseline="0">
                <a:solidFill>
                  <a:schemeClr val="tx1"/>
                </a:solidFill>
                <a:latin typeface="+mn-lt"/>
                <a:ea typeface="+mn-ea"/>
                <a:cs typeface="+mn-cs"/>
              </a:rPr>
              <a:t>incidence of the adverse reactions in MASH patients was similar to other approved indications.</a:t>
            </a:r>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638775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1541063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4141404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1846523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17514016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defRPr/>
            </a:pPr>
            <a:r>
              <a:rPr lang="en-GB" b="1">
                <a:solidFill>
                  <a:srgbClr val="212121"/>
                </a:solidFill>
                <a:highlight>
                  <a:srgbClr val="FFFFFF"/>
                </a:highlight>
              </a:rPr>
              <a:t>Semaglutide versus placebo in people with obesity-related heart failure with preserved ejection fraction: a pooled analysis of the STEP-HFpEF and STEP-HFpEF DM randomised trials</a:t>
            </a:r>
            <a:endParaRPr lang="en-GB" b="1">
              <a:cs typeface="Arial"/>
            </a:endParaRPr>
          </a:p>
          <a:p>
            <a:pPr marL="0" marR="0" lvl="0" indent="0" algn="l" defTabSz="914400">
              <a:lnSpc>
                <a:spcPct val="100000"/>
              </a:lnSpc>
              <a:spcBef>
                <a:spcPts val="0"/>
              </a:spcBef>
              <a:spcAft>
                <a:spcPts val="0"/>
              </a:spcAft>
              <a:buClrTx/>
              <a:buSzTx/>
              <a:buFont typeface="Arial" panose="020B0604020202020204" pitchFamily="34" charset="0"/>
              <a:buChar char="​"/>
              <a:tabLst/>
              <a:defRPr/>
            </a:pPr>
            <a:endParaRPr lang="en-GB" sz="1200" b="1" i="0" kern="1200">
              <a:solidFill>
                <a:schemeClr val="tx1"/>
              </a:solidFill>
              <a:effectLst/>
              <a:latin typeface="+mn-lt"/>
              <a:cs typeface="Arial"/>
            </a:endParaRPr>
          </a:p>
          <a:p>
            <a:endParaRPr lang="en-US"/>
          </a:p>
        </p:txBody>
      </p:sp>
      <p:sp>
        <p:nvSpPr>
          <p:cNvPr id="4" name="Slide Number Placeholder 3"/>
          <p:cNvSpPr>
            <a:spLocks noGrp="1"/>
          </p:cNvSpPr>
          <p:nvPr>
            <p:ph type="sldNum" sz="quarter" idx="5"/>
          </p:nvPr>
        </p:nvSpPr>
        <p:spPr/>
        <p:txBody>
          <a:bodyPr/>
          <a:lstStyle/>
          <a:p>
            <a:fld id="{A16CFAD1-D197-4A88-B173-A6412E995EE5}" type="slidenum">
              <a:rPr lang="en-GB" smtClean="0"/>
              <a:pPr/>
              <a:t>18</a:t>
            </a:fld>
            <a:endParaRPr lang="en-GB"/>
          </a:p>
        </p:txBody>
      </p:sp>
    </p:spTree>
    <p:extLst>
      <p:ext uri="{BB962C8B-B14F-4D97-AF65-F5344CB8AC3E}">
        <p14:creationId xmlns:p14="http://schemas.microsoft.com/office/powerpoint/2010/main" val="546143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defRPr/>
            </a:pPr>
            <a:r>
              <a:rPr lang="en-GB" b="1">
                <a:solidFill>
                  <a:srgbClr val="212121"/>
                </a:solidFill>
                <a:highlight>
                  <a:srgbClr val="FFFFFF"/>
                </a:highlight>
              </a:rPr>
              <a:t>Semaglutide versus placebo in people with obesity-related heart failure with preserved ejection fraction: a pooled analysis of the STEP-HFpEF and STEP-HFpEF DM randomised trials</a:t>
            </a:r>
            <a:endParaRPr lang="en-GB" b="1">
              <a:cs typeface="Arial"/>
            </a:endParaRPr>
          </a:p>
          <a:p>
            <a:pPr marL="0" marR="0" lvl="0" indent="0" algn="l" defTabSz="914400">
              <a:lnSpc>
                <a:spcPct val="100000"/>
              </a:lnSpc>
              <a:spcBef>
                <a:spcPts val="0"/>
              </a:spcBef>
              <a:spcAft>
                <a:spcPts val="0"/>
              </a:spcAft>
              <a:buClrTx/>
              <a:buSzTx/>
              <a:buFont typeface="Arial" panose="020B0604020202020204" pitchFamily="34" charset="0"/>
              <a:buChar char="​"/>
              <a:tabLst/>
              <a:defRPr/>
            </a:pPr>
            <a:endParaRPr lang="en-GB" b="1">
              <a:cs typeface="Arial"/>
            </a:endParaRPr>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4041217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i="0" kern="1200">
                <a:solidFill>
                  <a:schemeClr val="tx1"/>
                </a:solidFill>
                <a:effectLst/>
                <a:latin typeface="+mn-lt"/>
                <a:ea typeface="+mn-ea"/>
                <a:cs typeface="+mn-cs"/>
              </a:rPr>
              <a:t>Effects of semaglutide in obesity‐related heart failure with preserved ejection fraction across the age spectrum: Findings from the STEP‐HFpEF programme</a:t>
            </a:r>
          </a:p>
          <a:p>
            <a:endParaRPr lang="en-US"/>
          </a:p>
        </p:txBody>
      </p:sp>
      <p:sp>
        <p:nvSpPr>
          <p:cNvPr id="4" name="Slide Number Placeholder 3"/>
          <p:cNvSpPr>
            <a:spLocks noGrp="1"/>
          </p:cNvSpPr>
          <p:nvPr>
            <p:ph type="sldNum" sz="quarter" idx="5"/>
          </p:nvPr>
        </p:nvSpPr>
        <p:spPr/>
        <p:txBody>
          <a:bodyPr/>
          <a:lstStyle/>
          <a:p>
            <a:fld id="{A16CFAD1-D197-4A88-B173-A6412E995EE5}" type="slidenum">
              <a:rPr lang="en-GB" smtClean="0"/>
              <a:pPr/>
              <a:t>20</a:t>
            </a:fld>
            <a:endParaRPr lang="en-GB"/>
          </a:p>
        </p:txBody>
      </p:sp>
    </p:spTree>
    <p:extLst>
      <p:ext uri="{BB962C8B-B14F-4D97-AF65-F5344CB8AC3E}">
        <p14:creationId xmlns:p14="http://schemas.microsoft.com/office/powerpoint/2010/main" val="2482841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414616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ECD20-C937-8EE3-3EBD-894EA7ADF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1ED935-E200-7846-6D88-780CD3BCBCD7}"/>
              </a:ext>
            </a:extLst>
          </p:cNvPr>
          <p:cNvSpPr>
            <a:spLocks noGrp="1" noRot="1" noChangeAspect="1"/>
          </p:cNvSpPr>
          <p:nvPr>
            <p:ph type="sldImg"/>
          </p:nvPr>
        </p:nvSpPr>
        <p:spPr/>
        <p:txBody>
          <a:bodyPr/>
          <a:lstStyle/>
          <a:p>
            <a:endParaRPr lang="en-IN"/>
          </a:p>
        </p:txBody>
      </p:sp>
      <p:sp>
        <p:nvSpPr>
          <p:cNvPr id="3" name="Notes Placeholder 2">
            <a:extLst>
              <a:ext uri="{FF2B5EF4-FFF2-40B4-BE49-F238E27FC236}">
                <a16:creationId xmlns:a16="http://schemas.microsoft.com/office/drawing/2014/main" id="{E1F137EE-42DA-0307-DC5F-BF0A1D78C0CD}"/>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BC014694-2093-311D-B6DF-F1456C2A8D86}"/>
              </a:ext>
            </a:extLst>
          </p:cNvPr>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3758071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1343C-ABA5-A18D-B3F6-76761AC602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454758-BBAB-6B91-3987-D2DE059B06F6}"/>
              </a:ext>
            </a:extLst>
          </p:cNvPr>
          <p:cNvSpPr>
            <a:spLocks noGrp="1" noRot="1" noChangeAspect="1"/>
          </p:cNvSpPr>
          <p:nvPr>
            <p:ph type="sldImg"/>
          </p:nvPr>
        </p:nvSpPr>
        <p:spPr/>
        <p:txBody>
          <a:bodyPr/>
          <a:lstStyle/>
          <a:p>
            <a:endParaRPr lang="en-IN"/>
          </a:p>
        </p:txBody>
      </p:sp>
      <p:sp>
        <p:nvSpPr>
          <p:cNvPr id="3" name="Notes Placeholder 2">
            <a:extLst>
              <a:ext uri="{FF2B5EF4-FFF2-40B4-BE49-F238E27FC236}">
                <a16:creationId xmlns:a16="http://schemas.microsoft.com/office/drawing/2014/main" id="{8731DB64-4ECE-73E7-70C0-2F6DB0A1DE12}"/>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05EB5F34-5F19-3333-DD95-3A8494F6D657}"/>
              </a:ext>
            </a:extLst>
          </p:cNvPr>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1568221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2907929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845627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1869323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068526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713166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59D6B45-1D52-C3FE-3F29-05F527D71ADC}"/>
              </a:ext>
            </a:extLst>
          </p:cNvPr>
          <p:cNvSpPr>
            <a:spLocks noGrp="1"/>
          </p:cNvSpPr>
          <p:nvPr>
            <p:ph type="pic" sz="quarter" idx="13" hasCustomPrompt="1"/>
          </p:nvPr>
        </p:nvSpPr>
        <p:spPr>
          <a:xfrm>
            <a:off x="0" y="0"/>
            <a:ext cx="12191999" cy="6858000"/>
          </a:xfrm>
          <a:custGeom>
            <a:avLst/>
            <a:gdLst>
              <a:gd name="csX0" fmla="*/ 11678035 w 12191999"/>
              <a:gd name="csY0" fmla="*/ 723391 h 6858000"/>
              <a:gd name="csX1" fmla="*/ 11689718 w 12191999"/>
              <a:gd name="csY1" fmla="*/ 727378 h 6858000"/>
              <a:gd name="csX2" fmla="*/ 11689718 w 12191999"/>
              <a:gd name="csY2" fmla="*/ 770431 h 6858000"/>
              <a:gd name="csX3" fmla="*/ 11689600 w 12191999"/>
              <a:gd name="csY3" fmla="*/ 770431 h 6858000"/>
              <a:gd name="csX4" fmla="*/ 11678854 w 12191999"/>
              <a:gd name="csY4" fmla="*/ 775355 h 6858000"/>
              <a:gd name="csX5" fmla="*/ 11658644 w 12191999"/>
              <a:gd name="csY5" fmla="*/ 748377 h 6858000"/>
              <a:gd name="csX6" fmla="*/ 11678035 w 12191999"/>
              <a:gd name="csY6" fmla="*/ 723391 h 6858000"/>
              <a:gd name="csX7" fmla="*/ 11575063 w 12191999"/>
              <a:gd name="csY7" fmla="*/ 722651 h 6858000"/>
              <a:gd name="csX8" fmla="*/ 11585819 w 12191999"/>
              <a:gd name="csY8" fmla="*/ 726756 h 6858000"/>
              <a:gd name="csX9" fmla="*/ 11591552 w 12191999"/>
              <a:gd name="csY9" fmla="*/ 749176 h 6858000"/>
              <a:gd name="csX10" fmla="*/ 11585819 w 12191999"/>
              <a:gd name="csY10" fmla="*/ 771477 h 6858000"/>
              <a:gd name="csX11" fmla="*/ 11575063 w 12191999"/>
              <a:gd name="csY11" fmla="*/ 775464 h 6858000"/>
              <a:gd name="csX12" fmla="*/ 11564544 w 12191999"/>
              <a:gd name="csY12" fmla="*/ 771477 h 6858000"/>
              <a:gd name="csX13" fmla="*/ 11558810 w 12191999"/>
              <a:gd name="csY13" fmla="*/ 749176 h 6858000"/>
              <a:gd name="csX14" fmla="*/ 11564544 w 12191999"/>
              <a:gd name="csY14" fmla="*/ 726756 h 6858000"/>
              <a:gd name="csX15" fmla="*/ 11575063 w 12191999"/>
              <a:gd name="csY15" fmla="*/ 722651 h 6858000"/>
              <a:gd name="csX16" fmla="*/ 11425386 w 12191999"/>
              <a:gd name="csY16" fmla="*/ 722651 h 6858000"/>
              <a:gd name="csX17" fmla="*/ 11435955 w 12191999"/>
              <a:gd name="csY17" fmla="*/ 726756 h 6858000"/>
              <a:gd name="csX18" fmla="*/ 11441708 w 12191999"/>
              <a:gd name="csY18" fmla="*/ 749176 h 6858000"/>
              <a:gd name="csX19" fmla="*/ 11435955 w 12191999"/>
              <a:gd name="csY19" fmla="*/ 771477 h 6858000"/>
              <a:gd name="csX20" fmla="*/ 11425386 w 12191999"/>
              <a:gd name="csY20" fmla="*/ 775464 h 6858000"/>
              <a:gd name="csX21" fmla="*/ 11414581 w 12191999"/>
              <a:gd name="csY21" fmla="*/ 771477 h 6858000"/>
              <a:gd name="csX22" fmla="*/ 11408828 w 12191999"/>
              <a:gd name="csY22" fmla="*/ 749176 h 6858000"/>
              <a:gd name="csX23" fmla="*/ 11414581 w 12191999"/>
              <a:gd name="csY23" fmla="*/ 726756 h 6858000"/>
              <a:gd name="csX24" fmla="*/ 11425386 w 12191999"/>
              <a:gd name="csY24" fmla="*/ 722651 h 6858000"/>
              <a:gd name="csX25" fmla="*/ 11313366 w 12191999"/>
              <a:gd name="csY25" fmla="*/ 722651 h 6858000"/>
              <a:gd name="csX26" fmla="*/ 11324053 w 12191999"/>
              <a:gd name="csY26" fmla="*/ 726756 h 6858000"/>
              <a:gd name="csX27" fmla="*/ 11329805 w 12191999"/>
              <a:gd name="csY27" fmla="*/ 749176 h 6858000"/>
              <a:gd name="csX28" fmla="*/ 11324053 w 12191999"/>
              <a:gd name="csY28" fmla="*/ 771477 h 6858000"/>
              <a:gd name="csX29" fmla="*/ 11313366 w 12191999"/>
              <a:gd name="csY29" fmla="*/ 775464 h 6858000"/>
              <a:gd name="csX30" fmla="*/ 11302797 w 12191999"/>
              <a:gd name="csY30" fmla="*/ 771477 h 6858000"/>
              <a:gd name="csX31" fmla="*/ 11297044 w 12191999"/>
              <a:gd name="csY31" fmla="*/ 749176 h 6858000"/>
              <a:gd name="csX32" fmla="*/ 11302797 w 12191999"/>
              <a:gd name="csY32" fmla="*/ 726756 h 6858000"/>
              <a:gd name="csX33" fmla="*/ 11313366 w 12191999"/>
              <a:gd name="csY33" fmla="*/ 722651 h 6858000"/>
              <a:gd name="csX34" fmla="*/ 11716875 w 12191999"/>
              <a:gd name="csY34" fmla="*/ 717214 h 6858000"/>
              <a:gd name="csX35" fmla="*/ 11714783 w 12191999"/>
              <a:gd name="csY35" fmla="*/ 719434 h 6858000"/>
              <a:gd name="csX36" fmla="*/ 11714783 w 12191999"/>
              <a:gd name="csY36" fmla="*/ 778513 h 6858000"/>
              <a:gd name="csX37" fmla="*/ 11716648 w 12191999"/>
              <a:gd name="csY37" fmla="*/ 780734 h 6858000"/>
              <a:gd name="csX38" fmla="*/ 11723279 w 12191999"/>
              <a:gd name="csY38" fmla="*/ 780734 h 6858000"/>
              <a:gd name="csX39" fmla="*/ 11725598 w 12191999"/>
              <a:gd name="csY39" fmla="*/ 778513 h 6858000"/>
              <a:gd name="csX40" fmla="*/ 11725598 w 12191999"/>
              <a:gd name="csY40" fmla="*/ 719434 h 6858000"/>
              <a:gd name="csX41" fmla="*/ 11723269 w 12191999"/>
              <a:gd name="csY41" fmla="*/ 717214 h 6858000"/>
              <a:gd name="csX42" fmla="*/ 11716875 w 12191999"/>
              <a:gd name="csY42" fmla="*/ 717214 h 6858000"/>
              <a:gd name="csX43" fmla="*/ 11824652 w 12191999"/>
              <a:gd name="csY43" fmla="*/ 716908 h 6858000"/>
              <a:gd name="csX44" fmla="*/ 11820892 w 12191999"/>
              <a:gd name="csY44" fmla="*/ 718901 h 6858000"/>
              <a:gd name="csX45" fmla="*/ 11799144 w 12191999"/>
              <a:gd name="csY45" fmla="*/ 746196 h 6858000"/>
              <a:gd name="csX46" fmla="*/ 11798670 w 12191999"/>
              <a:gd name="csY46" fmla="*/ 746896 h 6858000"/>
              <a:gd name="csX47" fmla="*/ 11798788 w 12191999"/>
              <a:gd name="csY47" fmla="*/ 747597 h 6858000"/>
              <a:gd name="csX48" fmla="*/ 11820656 w 12191999"/>
              <a:gd name="csY48" fmla="*/ 778869 h 6858000"/>
              <a:gd name="csX49" fmla="*/ 11824297 w 12191999"/>
              <a:gd name="csY49" fmla="*/ 780743 h 6858000"/>
              <a:gd name="csX50" fmla="*/ 11832645 w 12191999"/>
              <a:gd name="csY50" fmla="*/ 780743 h 6858000"/>
              <a:gd name="csX51" fmla="*/ 11834402 w 12191999"/>
              <a:gd name="csY51" fmla="*/ 779214 h 6858000"/>
              <a:gd name="csX52" fmla="*/ 11833583 w 12191999"/>
              <a:gd name="csY52" fmla="*/ 777694 h 6858000"/>
              <a:gd name="csX53" fmla="*/ 11810304 w 12191999"/>
              <a:gd name="csY53" fmla="*/ 746887 h 6858000"/>
              <a:gd name="csX54" fmla="*/ 11810067 w 12191999"/>
              <a:gd name="csY54" fmla="*/ 746650 h 6858000"/>
              <a:gd name="csX55" fmla="*/ 11832053 w 12191999"/>
              <a:gd name="csY55" fmla="*/ 720766 h 6858000"/>
              <a:gd name="csX56" fmla="*/ 11832645 w 12191999"/>
              <a:gd name="csY56" fmla="*/ 718309 h 6858000"/>
              <a:gd name="csX57" fmla="*/ 11830415 w 12191999"/>
              <a:gd name="csY57" fmla="*/ 716908 h 6858000"/>
              <a:gd name="csX58" fmla="*/ 11824652 w 12191999"/>
              <a:gd name="csY58" fmla="*/ 716908 h 6858000"/>
              <a:gd name="csX59" fmla="*/ 11344617 w 12191999"/>
              <a:gd name="csY59" fmla="*/ 716908 h 6858000"/>
              <a:gd name="csX60" fmla="*/ 11342969 w 12191999"/>
              <a:gd name="csY60" fmla="*/ 718546 h 6858000"/>
              <a:gd name="csX61" fmla="*/ 11343443 w 12191999"/>
              <a:gd name="csY61" fmla="*/ 720302 h 6858000"/>
              <a:gd name="csX62" fmla="*/ 11365626 w 12191999"/>
              <a:gd name="csY62" fmla="*/ 778849 h 6858000"/>
              <a:gd name="csX63" fmla="*/ 11367619 w 12191999"/>
              <a:gd name="csY63" fmla="*/ 780724 h 6858000"/>
              <a:gd name="csX64" fmla="*/ 11372435 w 12191999"/>
              <a:gd name="csY64" fmla="*/ 780724 h 6858000"/>
              <a:gd name="csX65" fmla="*/ 11374665 w 12191999"/>
              <a:gd name="csY65" fmla="*/ 778849 h 6858000"/>
              <a:gd name="csX66" fmla="*/ 11396266 w 12191999"/>
              <a:gd name="csY66" fmla="*/ 720075 h 6858000"/>
              <a:gd name="csX67" fmla="*/ 11396503 w 12191999"/>
              <a:gd name="csY67" fmla="*/ 718201 h 6858000"/>
              <a:gd name="csX68" fmla="*/ 11394973 w 12191999"/>
              <a:gd name="csY68" fmla="*/ 716908 h 6858000"/>
              <a:gd name="csX69" fmla="*/ 11388865 w 12191999"/>
              <a:gd name="csY69" fmla="*/ 716908 h 6858000"/>
              <a:gd name="csX70" fmla="*/ 11387335 w 12191999"/>
              <a:gd name="csY70" fmla="*/ 718664 h 6858000"/>
              <a:gd name="csX71" fmla="*/ 11371369 w 12191999"/>
              <a:gd name="csY71" fmla="*/ 765596 h 6858000"/>
              <a:gd name="csX72" fmla="*/ 11354939 w 12191999"/>
              <a:gd name="csY72" fmla="*/ 718901 h 6858000"/>
              <a:gd name="csX73" fmla="*/ 11352127 w 12191999"/>
              <a:gd name="csY73" fmla="*/ 716908 h 6858000"/>
              <a:gd name="csX74" fmla="*/ 11344617 w 12191999"/>
              <a:gd name="csY74" fmla="*/ 716908 h 6858000"/>
              <a:gd name="csX75" fmla="*/ 11758537 w 12191999"/>
              <a:gd name="csY75" fmla="*/ 715842 h 6858000"/>
              <a:gd name="csX76" fmla="*/ 11737518 w 12191999"/>
              <a:gd name="csY76" fmla="*/ 733328 h 6858000"/>
              <a:gd name="csX77" fmla="*/ 11754077 w 12191999"/>
              <a:gd name="csY77" fmla="*/ 752344 h 6858000"/>
              <a:gd name="csX78" fmla="*/ 11767695 w 12191999"/>
              <a:gd name="csY78" fmla="*/ 764669 h 6858000"/>
              <a:gd name="csX79" fmla="*/ 11755133 w 12191999"/>
              <a:gd name="csY79" fmla="*/ 775464 h 6858000"/>
              <a:gd name="csX80" fmla="*/ 11739749 w 12191999"/>
              <a:gd name="csY80" fmla="*/ 769010 h 6858000"/>
              <a:gd name="csX81" fmla="*/ 11735170 w 12191999"/>
              <a:gd name="csY81" fmla="*/ 773115 h 6858000"/>
              <a:gd name="csX82" fmla="*/ 11754896 w 12191999"/>
              <a:gd name="csY82" fmla="*/ 782510 h 6858000"/>
              <a:gd name="csX83" fmla="*/ 11777444 w 12191999"/>
              <a:gd name="csY83" fmla="*/ 763494 h 6858000"/>
              <a:gd name="csX84" fmla="*/ 11747268 w 12191999"/>
              <a:gd name="csY84" fmla="*/ 732272 h 6858000"/>
              <a:gd name="csX85" fmla="*/ 11757836 w 12191999"/>
              <a:gd name="csY85" fmla="*/ 722878 h 6858000"/>
              <a:gd name="csX86" fmla="*/ 11770517 w 12191999"/>
              <a:gd name="csY86" fmla="*/ 727575 h 6858000"/>
              <a:gd name="csX87" fmla="*/ 11775095 w 12191999"/>
              <a:gd name="csY87" fmla="*/ 723233 h 6858000"/>
              <a:gd name="csX88" fmla="*/ 11758537 w 12191999"/>
              <a:gd name="csY88" fmla="*/ 715842 h 6858000"/>
              <a:gd name="csX89" fmla="*/ 11630530 w 12191999"/>
              <a:gd name="csY89" fmla="*/ 715487 h 6858000"/>
              <a:gd name="csX90" fmla="*/ 11616577 w 12191999"/>
              <a:gd name="csY90" fmla="*/ 717362 h 6858000"/>
              <a:gd name="csX91" fmla="*/ 11610834 w 12191999"/>
              <a:gd name="csY91" fmla="*/ 722385 h 6858000"/>
              <a:gd name="csX92" fmla="*/ 11610834 w 12191999"/>
              <a:gd name="csY92" fmla="*/ 778395 h 6858000"/>
              <a:gd name="csX93" fmla="*/ 11613301 w 12191999"/>
              <a:gd name="csY93" fmla="*/ 780378 h 6858000"/>
              <a:gd name="csX94" fmla="*/ 11619518 w 12191999"/>
              <a:gd name="csY94" fmla="*/ 780378 h 6858000"/>
              <a:gd name="csX95" fmla="*/ 11621748 w 12191999"/>
              <a:gd name="csY95" fmla="*/ 778395 h 6858000"/>
              <a:gd name="csX96" fmla="*/ 11621748 w 12191999"/>
              <a:gd name="csY96" fmla="*/ 727062 h 6858000"/>
              <a:gd name="csX97" fmla="*/ 11627965 w 12191999"/>
              <a:gd name="csY97" fmla="*/ 721566 h 6858000"/>
              <a:gd name="csX98" fmla="*/ 11641217 w 12191999"/>
              <a:gd name="csY98" fmla="*/ 727299 h 6858000"/>
              <a:gd name="csX99" fmla="*/ 11646595 w 12191999"/>
              <a:gd name="csY99" fmla="*/ 721921 h 6858000"/>
              <a:gd name="csX100" fmla="*/ 11630530 w 12191999"/>
              <a:gd name="csY100" fmla="*/ 715487 h 6858000"/>
              <a:gd name="csX101" fmla="*/ 11575073 w 12191999"/>
              <a:gd name="csY101" fmla="*/ 715487 h 6858000"/>
              <a:gd name="csX102" fmla="*/ 11559175 w 12191999"/>
              <a:gd name="csY102" fmla="*/ 720066 h 6858000"/>
              <a:gd name="csX103" fmla="*/ 11547482 w 12191999"/>
              <a:gd name="csY103" fmla="*/ 749176 h 6858000"/>
              <a:gd name="csX104" fmla="*/ 11559175 w 12191999"/>
              <a:gd name="csY104" fmla="*/ 778168 h 6858000"/>
              <a:gd name="csX105" fmla="*/ 11575073 w 12191999"/>
              <a:gd name="csY105" fmla="*/ 782628 h 6858000"/>
              <a:gd name="csX106" fmla="*/ 11590970 w 12191999"/>
              <a:gd name="csY106" fmla="*/ 778168 h 6858000"/>
              <a:gd name="csX107" fmla="*/ 11602782 w 12191999"/>
              <a:gd name="csY107" fmla="*/ 749176 h 6858000"/>
              <a:gd name="csX108" fmla="*/ 11590970 w 12191999"/>
              <a:gd name="csY108" fmla="*/ 720066 h 6858000"/>
              <a:gd name="csX109" fmla="*/ 11575073 w 12191999"/>
              <a:gd name="csY109" fmla="*/ 715487 h 6858000"/>
              <a:gd name="csX110" fmla="*/ 11513260 w 12191999"/>
              <a:gd name="csY110" fmla="*/ 715487 h 6858000"/>
              <a:gd name="csX111" fmla="*/ 11494235 w 12191999"/>
              <a:gd name="csY111" fmla="*/ 718536 h 6858000"/>
              <a:gd name="csX112" fmla="*/ 11488748 w 12191999"/>
              <a:gd name="csY112" fmla="*/ 723579 h 6858000"/>
              <a:gd name="csX113" fmla="*/ 11488748 w 12191999"/>
              <a:gd name="csY113" fmla="*/ 778493 h 6858000"/>
              <a:gd name="csX114" fmla="*/ 11491087 w 12191999"/>
              <a:gd name="csY114" fmla="*/ 780724 h 6858000"/>
              <a:gd name="csX115" fmla="*/ 11497156 w 12191999"/>
              <a:gd name="csY115" fmla="*/ 780724 h 6858000"/>
              <a:gd name="csX116" fmla="*/ 11499721 w 12191999"/>
              <a:gd name="csY116" fmla="*/ 778257 h 6858000"/>
              <a:gd name="csX117" fmla="*/ 11499721 w 12191999"/>
              <a:gd name="csY117" fmla="*/ 727684 h 6858000"/>
              <a:gd name="csX118" fmla="*/ 11512915 w 12191999"/>
              <a:gd name="csY118" fmla="*/ 722168 h 6858000"/>
              <a:gd name="csX119" fmla="*/ 11527154 w 12191999"/>
              <a:gd name="csY119" fmla="*/ 737186 h 6858000"/>
              <a:gd name="csX120" fmla="*/ 11527154 w 12191999"/>
              <a:gd name="csY120" fmla="*/ 778257 h 6858000"/>
              <a:gd name="csX121" fmla="*/ 11529957 w 12191999"/>
              <a:gd name="csY121" fmla="*/ 780724 h 6858000"/>
              <a:gd name="csX122" fmla="*/ 11536726 w 12191999"/>
              <a:gd name="csY122" fmla="*/ 780724 h 6858000"/>
              <a:gd name="csX123" fmla="*/ 11537890 w 12191999"/>
              <a:gd name="csY123" fmla="*/ 778267 h 6858000"/>
              <a:gd name="csX124" fmla="*/ 11537890 w 12191999"/>
              <a:gd name="csY124" fmla="*/ 735785 h 6858000"/>
              <a:gd name="csX125" fmla="*/ 11513260 w 12191999"/>
              <a:gd name="csY125" fmla="*/ 715487 h 6858000"/>
              <a:gd name="csX126" fmla="*/ 11425159 w 12191999"/>
              <a:gd name="csY126" fmla="*/ 715487 h 6858000"/>
              <a:gd name="csX127" fmla="*/ 11409193 w 12191999"/>
              <a:gd name="csY127" fmla="*/ 720066 h 6858000"/>
              <a:gd name="csX128" fmla="*/ 11397450 w 12191999"/>
              <a:gd name="csY128" fmla="*/ 749176 h 6858000"/>
              <a:gd name="csX129" fmla="*/ 11409193 w 12191999"/>
              <a:gd name="csY129" fmla="*/ 778168 h 6858000"/>
              <a:gd name="csX130" fmla="*/ 11425159 w 12191999"/>
              <a:gd name="csY130" fmla="*/ 782628 h 6858000"/>
              <a:gd name="csX131" fmla="*/ 11441126 w 12191999"/>
              <a:gd name="csY131" fmla="*/ 778168 h 6858000"/>
              <a:gd name="csX132" fmla="*/ 11452987 w 12191999"/>
              <a:gd name="csY132" fmla="*/ 749176 h 6858000"/>
              <a:gd name="csX133" fmla="*/ 11441126 w 12191999"/>
              <a:gd name="csY133" fmla="*/ 720066 h 6858000"/>
              <a:gd name="csX134" fmla="*/ 11425159 w 12191999"/>
              <a:gd name="csY134" fmla="*/ 715487 h 6858000"/>
              <a:gd name="csX135" fmla="*/ 11313375 w 12191999"/>
              <a:gd name="csY135" fmla="*/ 715487 h 6858000"/>
              <a:gd name="csX136" fmla="*/ 11297409 w 12191999"/>
              <a:gd name="csY136" fmla="*/ 720066 h 6858000"/>
              <a:gd name="csX137" fmla="*/ 11285548 w 12191999"/>
              <a:gd name="csY137" fmla="*/ 749176 h 6858000"/>
              <a:gd name="csX138" fmla="*/ 11297409 w 12191999"/>
              <a:gd name="csY138" fmla="*/ 778168 h 6858000"/>
              <a:gd name="csX139" fmla="*/ 11313375 w 12191999"/>
              <a:gd name="csY139" fmla="*/ 782628 h 6858000"/>
              <a:gd name="csX140" fmla="*/ 11329342 w 12191999"/>
              <a:gd name="csY140" fmla="*/ 778168 h 6858000"/>
              <a:gd name="csX141" fmla="*/ 11341085 w 12191999"/>
              <a:gd name="csY141" fmla="*/ 749176 h 6858000"/>
              <a:gd name="csX142" fmla="*/ 11329342 w 12191999"/>
              <a:gd name="csY142" fmla="*/ 720066 h 6858000"/>
              <a:gd name="csX143" fmla="*/ 11313375 w 12191999"/>
              <a:gd name="csY143" fmla="*/ 715487 h 6858000"/>
              <a:gd name="csX144" fmla="*/ 11251444 w 12191999"/>
              <a:gd name="csY144" fmla="*/ 715487 h 6858000"/>
              <a:gd name="csX145" fmla="*/ 11232330 w 12191999"/>
              <a:gd name="csY145" fmla="*/ 718536 h 6858000"/>
              <a:gd name="csX146" fmla="*/ 11226814 w 12191999"/>
              <a:gd name="csY146" fmla="*/ 723579 h 6858000"/>
              <a:gd name="csX147" fmla="*/ 11226814 w 12191999"/>
              <a:gd name="csY147" fmla="*/ 778493 h 6858000"/>
              <a:gd name="csX148" fmla="*/ 11229044 w 12191999"/>
              <a:gd name="csY148" fmla="*/ 780724 h 6858000"/>
              <a:gd name="csX149" fmla="*/ 11235143 w 12191999"/>
              <a:gd name="csY149" fmla="*/ 780724 h 6858000"/>
              <a:gd name="csX150" fmla="*/ 11237718 w 12191999"/>
              <a:gd name="csY150" fmla="*/ 778257 h 6858000"/>
              <a:gd name="csX151" fmla="*/ 11237718 w 12191999"/>
              <a:gd name="csY151" fmla="*/ 727684 h 6858000"/>
              <a:gd name="csX152" fmla="*/ 11250971 w 12191999"/>
              <a:gd name="csY152" fmla="*/ 722168 h 6858000"/>
              <a:gd name="csX153" fmla="*/ 11265279 w 12191999"/>
              <a:gd name="csY153" fmla="*/ 737186 h 6858000"/>
              <a:gd name="csX154" fmla="*/ 11265279 w 12191999"/>
              <a:gd name="csY154" fmla="*/ 778257 h 6858000"/>
              <a:gd name="csX155" fmla="*/ 11268092 w 12191999"/>
              <a:gd name="csY155" fmla="*/ 780724 h 6858000"/>
              <a:gd name="csX156" fmla="*/ 11274890 w 12191999"/>
              <a:gd name="csY156" fmla="*/ 780724 h 6858000"/>
              <a:gd name="csX157" fmla="*/ 11276193 w 12191999"/>
              <a:gd name="csY157" fmla="*/ 778267 h 6858000"/>
              <a:gd name="csX158" fmla="*/ 11276193 w 12191999"/>
              <a:gd name="csY158" fmla="*/ 735785 h 6858000"/>
              <a:gd name="csX159" fmla="*/ 11251444 w 12191999"/>
              <a:gd name="csY159" fmla="*/ 715487 h 6858000"/>
              <a:gd name="csX160" fmla="*/ 11691820 w 12191999"/>
              <a:gd name="csY160" fmla="*/ 694162 h 6858000"/>
              <a:gd name="csX161" fmla="*/ 11689600 w 12191999"/>
              <a:gd name="csY161" fmla="*/ 696975 h 6858000"/>
              <a:gd name="csX162" fmla="*/ 11689600 w 12191999"/>
              <a:gd name="csY162" fmla="*/ 719266 h 6858000"/>
              <a:gd name="csX163" fmla="*/ 11676278 w 12191999"/>
              <a:gd name="csY163" fmla="*/ 715862 h 6858000"/>
              <a:gd name="csX164" fmla="*/ 11647533 w 12191999"/>
              <a:gd name="csY164" fmla="*/ 749176 h 6858000"/>
              <a:gd name="csX165" fmla="*/ 11678498 w 12191999"/>
              <a:gd name="csY165" fmla="*/ 782608 h 6858000"/>
              <a:gd name="csX166" fmla="*/ 11700237 w 12191999"/>
              <a:gd name="csY166" fmla="*/ 773944 h 6858000"/>
              <a:gd name="csX167" fmla="*/ 11700237 w 12191999"/>
              <a:gd name="csY167" fmla="*/ 696629 h 6858000"/>
              <a:gd name="csX168" fmla="*/ 11697899 w 12191999"/>
              <a:gd name="csY168" fmla="*/ 694162 h 6858000"/>
              <a:gd name="csX169" fmla="*/ 11691820 w 12191999"/>
              <a:gd name="csY169" fmla="*/ 694162 h 6858000"/>
              <a:gd name="csX170" fmla="*/ 11788328 w 12191999"/>
              <a:gd name="csY170" fmla="*/ 693935 h 6858000"/>
              <a:gd name="csX171" fmla="*/ 11786325 w 12191999"/>
              <a:gd name="csY171" fmla="*/ 695929 h 6858000"/>
              <a:gd name="csX172" fmla="*/ 11786325 w 12191999"/>
              <a:gd name="csY172" fmla="*/ 778740 h 6858000"/>
              <a:gd name="csX173" fmla="*/ 11788328 w 12191999"/>
              <a:gd name="csY173" fmla="*/ 780615 h 6858000"/>
              <a:gd name="csX174" fmla="*/ 11794792 w 12191999"/>
              <a:gd name="csY174" fmla="*/ 780615 h 6858000"/>
              <a:gd name="csX175" fmla="*/ 11797022 w 12191999"/>
              <a:gd name="csY175" fmla="*/ 778859 h 6858000"/>
              <a:gd name="csX176" fmla="*/ 11797022 w 12191999"/>
              <a:gd name="csY176" fmla="*/ 695692 h 6858000"/>
              <a:gd name="csX177" fmla="*/ 11794792 w 12191999"/>
              <a:gd name="csY177" fmla="*/ 693935 h 6858000"/>
              <a:gd name="csX178" fmla="*/ 11788328 w 12191999"/>
              <a:gd name="csY178" fmla="*/ 693935 h 6858000"/>
              <a:gd name="csX179" fmla="*/ 11720486 w 12191999"/>
              <a:gd name="csY179" fmla="*/ 693225 h 6858000"/>
              <a:gd name="csX180" fmla="*/ 11713737 w 12191999"/>
              <a:gd name="csY180" fmla="*/ 699777 h 6858000"/>
              <a:gd name="csX181" fmla="*/ 11720250 w 12191999"/>
              <a:gd name="csY181" fmla="*/ 706211 h 6858000"/>
              <a:gd name="csX182" fmla="*/ 11726881 w 12191999"/>
              <a:gd name="csY182" fmla="*/ 699313 h 6858000"/>
              <a:gd name="csX183" fmla="*/ 11720486 w 12191999"/>
              <a:gd name="csY183" fmla="*/ 693225 h 6858000"/>
              <a:gd name="csX184" fmla="*/ 11850723 w 12191999"/>
              <a:gd name="csY184" fmla="*/ 683919 h 6858000"/>
              <a:gd name="csX185" fmla="*/ 11850963 w 12191999"/>
              <a:gd name="csY185" fmla="*/ 684096 h 6858000"/>
              <a:gd name="csX186" fmla="*/ 11850723 w 12191999"/>
              <a:gd name="csY186" fmla="*/ 684156 h 6858000"/>
              <a:gd name="csX187" fmla="*/ 11850723 w 12191999"/>
              <a:gd name="csY187" fmla="*/ 683919 h 6858000"/>
              <a:gd name="csX188" fmla="*/ 11843579 w 12191999"/>
              <a:gd name="csY188" fmla="*/ 675354 h 6858000"/>
              <a:gd name="csX189" fmla="*/ 11847437 w 12191999"/>
              <a:gd name="csY189" fmla="*/ 675354 h 6858000"/>
              <a:gd name="csX190" fmla="*/ 11852707 w 12191999"/>
              <a:gd name="csY190" fmla="*/ 678522 h 6858000"/>
              <a:gd name="csX191" fmla="*/ 11847792 w 12191999"/>
              <a:gd name="csY191" fmla="*/ 681689 h 6858000"/>
              <a:gd name="csX192" fmla="*/ 11843579 w 12191999"/>
              <a:gd name="csY192" fmla="*/ 681689 h 6858000"/>
              <a:gd name="csX193" fmla="*/ 11840303 w 12191999"/>
              <a:gd name="csY193" fmla="*/ 672413 h 6858000"/>
              <a:gd name="csX194" fmla="*/ 11840303 w 12191999"/>
              <a:gd name="csY194" fmla="*/ 693659 h 6858000"/>
              <a:gd name="csX195" fmla="*/ 11843816 w 12191999"/>
              <a:gd name="csY195" fmla="*/ 693659 h 6858000"/>
              <a:gd name="csX196" fmla="*/ 11843816 w 12191999"/>
              <a:gd name="csY196" fmla="*/ 684620 h 6858000"/>
              <a:gd name="csX197" fmla="*/ 11845809 w 12191999"/>
              <a:gd name="csY197" fmla="*/ 684620 h 6858000"/>
              <a:gd name="csX198" fmla="*/ 11852124 w 12191999"/>
              <a:gd name="csY198" fmla="*/ 690255 h 6858000"/>
              <a:gd name="csX199" fmla="*/ 11853999 w 12191999"/>
              <a:gd name="csY199" fmla="*/ 693541 h 6858000"/>
              <a:gd name="csX200" fmla="*/ 11858094 w 12191999"/>
              <a:gd name="csY200" fmla="*/ 693541 h 6858000"/>
              <a:gd name="csX201" fmla="*/ 11855519 w 12191999"/>
              <a:gd name="csY201" fmla="*/ 689317 h 6858000"/>
              <a:gd name="csX202" fmla="*/ 11852592 w 12191999"/>
              <a:gd name="csY202" fmla="*/ 685297 h 6858000"/>
              <a:gd name="csX203" fmla="*/ 11850963 w 12191999"/>
              <a:gd name="csY203" fmla="*/ 684096 h 6858000"/>
              <a:gd name="csX204" fmla="*/ 11853484 w 12191999"/>
              <a:gd name="csY204" fmla="*/ 683467 h 6858000"/>
              <a:gd name="csX205" fmla="*/ 11856693 w 12191999"/>
              <a:gd name="csY205" fmla="*/ 678166 h 6858000"/>
              <a:gd name="csX206" fmla="*/ 11854700 w 12191999"/>
              <a:gd name="csY206" fmla="*/ 674061 h 6858000"/>
              <a:gd name="csX207" fmla="*/ 11847792 w 12191999"/>
              <a:gd name="csY207" fmla="*/ 672413 h 6858000"/>
              <a:gd name="csX208" fmla="*/ 11840303 w 12191999"/>
              <a:gd name="csY208" fmla="*/ 672413 h 6858000"/>
              <a:gd name="csX209" fmla="*/ 11848612 w 12191999"/>
              <a:gd name="csY209" fmla="*/ 666552 h 6858000"/>
              <a:gd name="csX210" fmla="*/ 11864992 w 12191999"/>
              <a:gd name="csY210" fmla="*/ 682863 h 6858000"/>
              <a:gd name="csX211" fmla="*/ 11848612 w 12191999"/>
              <a:gd name="csY211" fmla="*/ 699412 h 6858000"/>
              <a:gd name="csX212" fmla="*/ 11832349 w 12191999"/>
              <a:gd name="csY212" fmla="*/ 682863 h 6858000"/>
              <a:gd name="csX213" fmla="*/ 11848612 w 12191999"/>
              <a:gd name="csY213" fmla="*/ 666552 h 6858000"/>
              <a:gd name="csX214" fmla="*/ 11848612 w 12191999"/>
              <a:gd name="csY214" fmla="*/ 663147 h 6858000"/>
              <a:gd name="csX215" fmla="*/ 11829073 w 12191999"/>
              <a:gd name="csY215" fmla="*/ 682863 h 6858000"/>
              <a:gd name="csX216" fmla="*/ 11848612 w 12191999"/>
              <a:gd name="csY216" fmla="*/ 702580 h 6858000"/>
              <a:gd name="csX217" fmla="*/ 11868150 w 12191999"/>
              <a:gd name="csY217" fmla="*/ 682863 h 6858000"/>
              <a:gd name="csX218" fmla="*/ 11848612 w 12191999"/>
              <a:gd name="csY218" fmla="*/ 663147 h 6858000"/>
              <a:gd name="csX219" fmla="*/ 11653507 w 12191999"/>
              <a:gd name="csY219" fmla="*/ 535252 h 6858000"/>
              <a:gd name="csX220" fmla="*/ 11655161 w 12191999"/>
              <a:gd name="csY220" fmla="*/ 535999 h 6858000"/>
              <a:gd name="csX221" fmla="*/ 11658328 w 12191999"/>
              <a:gd name="csY221" fmla="*/ 611371 h 6858000"/>
              <a:gd name="csX222" fmla="*/ 11654697 w 12191999"/>
              <a:gd name="csY222" fmla="*/ 610670 h 6858000"/>
              <a:gd name="csX223" fmla="*/ 11648835 w 12191999"/>
              <a:gd name="csY223" fmla="*/ 579724 h 6858000"/>
              <a:gd name="csX224" fmla="*/ 11652467 w 12191999"/>
              <a:gd name="csY224" fmla="*/ 536355 h 6858000"/>
              <a:gd name="csX225" fmla="*/ 11653507 w 12191999"/>
              <a:gd name="csY225" fmla="*/ 535252 h 6858000"/>
              <a:gd name="csX226" fmla="*/ 11517474 w 12191999"/>
              <a:gd name="csY226" fmla="*/ 490400 h 6858000"/>
              <a:gd name="csX227" fmla="*/ 11571777 w 12191999"/>
              <a:gd name="csY227" fmla="*/ 492275 h 6858000"/>
              <a:gd name="csX228" fmla="*/ 11570247 w 12191999"/>
              <a:gd name="csY228" fmla="*/ 522046 h 6858000"/>
              <a:gd name="csX229" fmla="*/ 11525565 w 12191999"/>
              <a:gd name="csY229" fmla="*/ 526151 h 6858000"/>
              <a:gd name="csX230" fmla="*/ 11519585 w 12191999"/>
              <a:gd name="csY230" fmla="*/ 519352 h 6858000"/>
              <a:gd name="csX231" fmla="*/ 11517474 w 12191999"/>
              <a:gd name="csY231" fmla="*/ 490400 h 6858000"/>
              <a:gd name="csX232" fmla="*/ 11612235 w 12191999"/>
              <a:gd name="csY232" fmla="*/ 487469 h 6858000"/>
              <a:gd name="csX233" fmla="*/ 11616222 w 12191999"/>
              <a:gd name="csY233" fmla="*/ 506929 h 6858000"/>
              <a:gd name="csX234" fmla="*/ 11606838 w 12191999"/>
              <a:gd name="csY234" fmla="*/ 513728 h 6858000"/>
              <a:gd name="csX235" fmla="*/ 11599210 w 12191999"/>
              <a:gd name="csY235" fmla="*/ 489226 h 6858000"/>
              <a:gd name="csX236" fmla="*/ 11612235 w 12191999"/>
              <a:gd name="csY236" fmla="*/ 487469 h 6858000"/>
              <a:gd name="csX237" fmla="*/ 11472446 w 12191999"/>
              <a:gd name="csY237" fmla="*/ 480680 h 6858000"/>
              <a:gd name="csX238" fmla="*/ 11489804 w 12191999"/>
              <a:gd name="csY238" fmla="*/ 485367 h 6858000"/>
              <a:gd name="csX239" fmla="*/ 11473857 w 12191999"/>
              <a:gd name="csY239" fmla="*/ 519362 h 6858000"/>
              <a:gd name="csX240" fmla="*/ 11466230 w 12191999"/>
              <a:gd name="csY240" fmla="*/ 513382 h 6858000"/>
              <a:gd name="csX241" fmla="*/ 11472446 w 12191999"/>
              <a:gd name="csY241" fmla="*/ 480680 h 6858000"/>
              <a:gd name="csX242" fmla="*/ 11452359 w 12191999"/>
              <a:gd name="csY242" fmla="*/ 474250 h 6858000"/>
              <a:gd name="csX243" fmla="*/ 11463427 w 12191999"/>
              <a:gd name="csY243" fmla="*/ 477868 h 6858000"/>
              <a:gd name="csX244" fmla="*/ 11455799 w 12191999"/>
              <a:gd name="csY244" fmla="*/ 518069 h 6858000"/>
              <a:gd name="csX245" fmla="*/ 11474913 w 12191999"/>
              <a:gd name="csY245" fmla="*/ 528036 h 6858000"/>
              <a:gd name="csX246" fmla="*/ 11498251 w 12191999"/>
              <a:gd name="csY246" fmla="*/ 487242 h 6858000"/>
              <a:gd name="csX247" fmla="*/ 11509273 w 12191999"/>
              <a:gd name="csY247" fmla="*/ 489235 h 6858000"/>
              <a:gd name="csX248" fmla="*/ 11512678 w 12191999"/>
              <a:gd name="csY248" fmla="*/ 527444 h 6858000"/>
              <a:gd name="csX249" fmla="*/ 11524638 w 12191999"/>
              <a:gd name="csY249" fmla="*/ 534944 h 6858000"/>
              <a:gd name="csX250" fmla="*/ 11577175 w 12191999"/>
              <a:gd name="csY250" fmla="*/ 528381 h 6858000"/>
              <a:gd name="csX251" fmla="*/ 11580105 w 12191999"/>
              <a:gd name="csY251" fmla="*/ 491574 h 6858000"/>
              <a:gd name="csX252" fmla="*/ 11590190 w 12191999"/>
              <a:gd name="csY252" fmla="*/ 490400 h 6858000"/>
              <a:gd name="csX253" fmla="*/ 11598637 w 12191999"/>
              <a:gd name="csY253" fmla="*/ 514547 h 6858000"/>
              <a:gd name="csX254" fmla="*/ 11616350 w 12191999"/>
              <a:gd name="csY254" fmla="*/ 517596 h 6858000"/>
              <a:gd name="csX255" fmla="*/ 11619982 w 12191999"/>
              <a:gd name="csY255" fmla="*/ 486532 h 6858000"/>
              <a:gd name="csX256" fmla="*/ 11640971 w 12191999"/>
              <a:gd name="csY256" fmla="*/ 519007 h 6858000"/>
              <a:gd name="csX257" fmla="*/ 11629248 w 12191999"/>
              <a:gd name="csY257" fmla="*/ 567419 h 6858000"/>
              <a:gd name="csX258" fmla="*/ 11560172 w 12191999"/>
              <a:gd name="csY258" fmla="*/ 552064 h 6858000"/>
              <a:gd name="csX259" fmla="*/ 11488985 w 12191999"/>
              <a:gd name="csY259" fmla="*/ 590510 h 6858000"/>
              <a:gd name="csX260" fmla="*/ 11485936 w 12191999"/>
              <a:gd name="csY260" fmla="*/ 591329 h 6858000"/>
              <a:gd name="csX261" fmla="*/ 11451339 w 12191999"/>
              <a:gd name="csY261" fmla="*/ 566482 h 6858000"/>
              <a:gd name="csX262" fmla="*/ 11424251 w 12191999"/>
              <a:gd name="csY262" fmla="*/ 533779 h 6858000"/>
              <a:gd name="csX263" fmla="*/ 11448063 w 12191999"/>
              <a:gd name="csY263" fmla="*/ 477049 h 6858000"/>
              <a:gd name="csX264" fmla="*/ 11452359 w 12191999"/>
              <a:gd name="csY264" fmla="*/ 474250 h 6858000"/>
              <a:gd name="csX265" fmla="*/ 11396326 w 12191999"/>
              <a:gd name="csY265" fmla="*/ 460950 h 6858000"/>
              <a:gd name="csX266" fmla="*/ 11385431 w 12191999"/>
              <a:gd name="csY266" fmla="*/ 468700 h 6858000"/>
              <a:gd name="csX267" fmla="*/ 11399591 w 12191999"/>
              <a:gd name="csY267" fmla="*/ 461813 h 6858000"/>
              <a:gd name="csX268" fmla="*/ 11396326 w 12191999"/>
              <a:gd name="csY268" fmla="*/ 460950 h 6858000"/>
              <a:gd name="csX269" fmla="*/ 11392926 w 12191999"/>
              <a:gd name="csY269" fmla="*/ 446221 h 6858000"/>
              <a:gd name="csX270" fmla="*/ 11415804 w 12191999"/>
              <a:gd name="csY270" fmla="*/ 456060 h 6858000"/>
              <a:gd name="csX271" fmla="*/ 11435738 w 12191999"/>
              <a:gd name="csY271" fmla="*/ 477157 h 6858000"/>
              <a:gd name="csX272" fmla="*/ 11413101 w 12191999"/>
              <a:gd name="csY272" fmla="*/ 526625 h 6858000"/>
              <a:gd name="csX273" fmla="*/ 11395861 w 12191999"/>
              <a:gd name="csY273" fmla="*/ 499311 h 6858000"/>
              <a:gd name="csX274" fmla="*/ 11371231 w 12191999"/>
              <a:gd name="csY274" fmla="*/ 492275 h 6858000"/>
              <a:gd name="csX275" fmla="*/ 11368882 w 12191999"/>
              <a:gd name="csY275" fmla="*/ 481144 h 6858000"/>
              <a:gd name="csX276" fmla="*/ 11375681 w 12191999"/>
              <a:gd name="csY276" fmla="*/ 471996 h 6858000"/>
              <a:gd name="csX277" fmla="*/ 11378148 w 12191999"/>
              <a:gd name="csY277" fmla="*/ 461684 h 6858000"/>
              <a:gd name="csX278" fmla="*/ 11388825 w 12191999"/>
              <a:gd name="csY278" fmla="*/ 448442 h 6858000"/>
              <a:gd name="csX279" fmla="*/ 11392926 w 12191999"/>
              <a:gd name="csY279" fmla="*/ 446221 h 6858000"/>
              <a:gd name="csX280" fmla="*/ 11365096 w 12191999"/>
              <a:gd name="csY280" fmla="*/ 390642 h 6858000"/>
              <a:gd name="csX281" fmla="*/ 11363366 w 12191999"/>
              <a:gd name="csY281" fmla="*/ 397119 h 6858000"/>
              <a:gd name="csX282" fmla="*/ 11376037 w 12191999"/>
              <a:gd name="csY282" fmla="*/ 435100 h 6858000"/>
              <a:gd name="csX283" fmla="*/ 11378967 w 12191999"/>
              <a:gd name="csY283" fmla="*/ 444475 h 6858000"/>
              <a:gd name="csX284" fmla="*/ 11369119 w 12191999"/>
              <a:gd name="csY284" fmla="*/ 458536 h 6858000"/>
              <a:gd name="csX285" fmla="*/ 11368063 w 12191999"/>
              <a:gd name="csY285" fmla="*/ 465572 h 6858000"/>
              <a:gd name="csX286" fmla="*/ 11357278 w 12191999"/>
              <a:gd name="csY286" fmla="*/ 480108 h 6858000"/>
              <a:gd name="csX287" fmla="*/ 11358916 w 12191999"/>
              <a:gd name="csY287" fmla="*/ 491949 h 6858000"/>
              <a:gd name="csX288" fmla="*/ 11368537 w 12191999"/>
              <a:gd name="csY288" fmla="*/ 501916 h 6858000"/>
              <a:gd name="csX289" fmla="*/ 11381434 w 12191999"/>
              <a:gd name="csY289" fmla="*/ 503327 h 6858000"/>
              <a:gd name="csX290" fmla="*/ 11396680 w 12191999"/>
              <a:gd name="csY290" fmla="*/ 515287 h 6858000"/>
              <a:gd name="csX291" fmla="*/ 11423886 w 12191999"/>
              <a:gd name="csY291" fmla="*/ 562169 h 6858000"/>
              <a:gd name="csX292" fmla="*/ 11429748 w 12191999"/>
              <a:gd name="csY292" fmla="*/ 585961 h 6858000"/>
              <a:gd name="csX293" fmla="*/ 11398555 w 12191999"/>
              <a:gd name="csY293" fmla="*/ 679735 h 6858000"/>
              <a:gd name="csX294" fmla="*/ 11400193 w 12191999"/>
              <a:gd name="csY294" fmla="*/ 689228 h 6858000"/>
              <a:gd name="csX295" fmla="*/ 11424123 w 12191999"/>
              <a:gd name="csY295" fmla="*/ 689228 h 6858000"/>
              <a:gd name="csX296" fmla="*/ 11429284 w 12191999"/>
              <a:gd name="csY296" fmla="*/ 682429 h 6858000"/>
              <a:gd name="csX297" fmla="*/ 11461187 w 12191999"/>
              <a:gd name="csY297" fmla="*/ 587717 h 6858000"/>
              <a:gd name="csX298" fmla="*/ 11493554 w 12191999"/>
              <a:gd name="csY298" fmla="*/ 680554 h 6858000"/>
              <a:gd name="csX299" fmla="*/ 11496958 w 12191999"/>
              <a:gd name="csY299" fmla="*/ 689465 h 6858000"/>
              <a:gd name="csX300" fmla="*/ 11517484 w 12191999"/>
              <a:gd name="csY300" fmla="*/ 689465 h 6858000"/>
              <a:gd name="csX301" fmla="*/ 11524164 w 12191999"/>
              <a:gd name="csY301" fmla="*/ 683485 h 6858000"/>
              <a:gd name="csX302" fmla="*/ 11502238 w 12191999"/>
              <a:gd name="csY302" fmla="*/ 597684 h 6858000"/>
              <a:gd name="csX303" fmla="*/ 11558297 w 12191999"/>
              <a:gd name="csY303" fmla="*/ 575767 h 6858000"/>
              <a:gd name="csX304" fmla="*/ 11589490 w 12191999"/>
              <a:gd name="csY304" fmla="*/ 600269 h 6858000"/>
              <a:gd name="csX305" fmla="*/ 11537298 w 12191999"/>
              <a:gd name="csY305" fmla="*/ 680564 h 6858000"/>
              <a:gd name="csX306" fmla="*/ 11539410 w 12191999"/>
              <a:gd name="csY306" fmla="*/ 689238 h 6858000"/>
              <a:gd name="csX307" fmla="*/ 11561110 w 12191999"/>
              <a:gd name="csY307" fmla="*/ 689238 h 6858000"/>
              <a:gd name="csX308" fmla="*/ 11569083 w 12191999"/>
              <a:gd name="csY308" fmla="*/ 684196 h 6858000"/>
              <a:gd name="csX309" fmla="*/ 11616232 w 12191999"/>
              <a:gd name="csY309" fmla="*/ 608361 h 6858000"/>
              <a:gd name="csX310" fmla="*/ 11625261 w 12191999"/>
              <a:gd name="csY310" fmla="*/ 580820 h 6858000"/>
              <a:gd name="csX311" fmla="*/ 11616696 w 12191999"/>
              <a:gd name="csY311" fmla="*/ 680683 h 6858000"/>
              <a:gd name="csX312" fmla="*/ 11618807 w 12191999"/>
              <a:gd name="csY312" fmla="*/ 689120 h 6858000"/>
              <a:gd name="csX313" fmla="*/ 11638395 w 12191999"/>
              <a:gd name="csY313" fmla="*/ 689120 h 6858000"/>
              <a:gd name="csX314" fmla="*/ 11644494 w 12191999"/>
              <a:gd name="csY314" fmla="*/ 681620 h 6858000"/>
              <a:gd name="csX315" fmla="*/ 11649181 w 12191999"/>
              <a:gd name="csY315" fmla="*/ 665091 h 6858000"/>
              <a:gd name="csX316" fmla="*/ 11666894 w 12191999"/>
              <a:gd name="csY316" fmla="*/ 660523 h 6858000"/>
              <a:gd name="csX317" fmla="*/ 11671472 w 12191999"/>
              <a:gd name="csY317" fmla="*/ 653724 h 6858000"/>
              <a:gd name="csX318" fmla="*/ 11667476 w 12191999"/>
              <a:gd name="csY318" fmla="*/ 507639 h 6858000"/>
              <a:gd name="csX319" fmla="*/ 11620564 w 12191999"/>
              <a:gd name="csY319" fmla="*/ 477167 h 6858000"/>
              <a:gd name="csX320" fmla="*/ 11550314 w 12191999"/>
              <a:gd name="csY320" fmla="*/ 482555 h 6858000"/>
              <a:gd name="csX321" fmla="*/ 11436438 w 12191999"/>
              <a:gd name="csY321" fmla="*/ 456415 h 6858000"/>
              <a:gd name="csX322" fmla="*/ 11436083 w 12191999"/>
              <a:gd name="csY322" fmla="*/ 451254 h 6858000"/>
              <a:gd name="csX323" fmla="*/ 11465637 w 12191999"/>
              <a:gd name="csY323" fmla="*/ 427581 h 6858000"/>
              <a:gd name="csX324" fmla="*/ 11463289 w 12191999"/>
              <a:gd name="csY324" fmla="*/ 421255 h 6858000"/>
              <a:gd name="csX325" fmla="*/ 11403479 w 12191999"/>
              <a:gd name="csY325" fmla="*/ 432041 h 6858000"/>
              <a:gd name="csX326" fmla="*/ 11368409 w 12191999"/>
              <a:gd name="csY326" fmla="*/ 394888 h 6858000"/>
              <a:gd name="csX327" fmla="*/ 11365096 w 12191999"/>
              <a:gd name="csY327" fmla="*/ 390642 h 6858000"/>
              <a:gd name="csX328" fmla="*/ 11426797 w 12191999"/>
              <a:gd name="csY328" fmla="*/ 336786 h 6858000"/>
              <a:gd name="csX329" fmla="*/ 11458690 w 12191999"/>
              <a:gd name="csY329" fmla="*/ 368758 h 6858000"/>
              <a:gd name="csX330" fmla="*/ 11426797 w 12191999"/>
              <a:gd name="csY330" fmla="*/ 400730 h 6858000"/>
              <a:gd name="csX331" fmla="*/ 11394667 w 12191999"/>
              <a:gd name="csY331" fmla="*/ 368758 h 6858000"/>
              <a:gd name="csX332" fmla="*/ 11426797 w 12191999"/>
              <a:gd name="csY332" fmla="*/ 336786 h 6858000"/>
              <a:gd name="csX333" fmla="*/ 11425396 w 12191999"/>
              <a:gd name="csY333" fmla="*/ 325428 h 6858000"/>
              <a:gd name="csX334" fmla="*/ 11377201 w 12191999"/>
              <a:gd name="csY334" fmla="*/ 373801 h 6858000"/>
              <a:gd name="csX335" fmla="*/ 11425396 w 12191999"/>
              <a:gd name="csY335" fmla="*/ 422173 h 6858000"/>
              <a:gd name="csX336" fmla="*/ 11473591 w 12191999"/>
              <a:gd name="csY336" fmla="*/ 373801 h 6858000"/>
              <a:gd name="csX337" fmla="*/ 11425396 w 12191999"/>
              <a:gd name="csY337" fmla="*/ 325428 h 6858000"/>
              <a:gd name="csX338" fmla="*/ 0 w 12191999"/>
              <a:gd name="csY338" fmla="*/ 0 h 6858000"/>
              <a:gd name="csX339" fmla="*/ 12191999 w 12191999"/>
              <a:gd name="csY339" fmla="*/ 0 h 6858000"/>
              <a:gd name="csX340" fmla="*/ 12191999 w 12191999"/>
              <a:gd name="csY340" fmla="*/ 6858000 h 6858000"/>
              <a:gd name="csX341" fmla="*/ 0 w 12191999"/>
              <a:gd name="csY341" fmla="*/ 6858000 h 6858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Lst>
            <a:rect l="l" t="t" r="r" b="b"/>
            <a:pathLst>
              <a:path w="12191999" h="6858000">
                <a:moveTo>
                  <a:pt x="11678035" y="723391"/>
                </a:moveTo>
                <a:cubicBezTo>
                  <a:pt x="11684340" y="723391"/>
                  <a:pt x="11687261" y="725384"/>
                  <a:pt x="11689718" y="727378"/>
                </a:cubicBezTo>
                <a:cubicBezTo>
                  <a:pt x="11689718" y="770431"/>
                  <a:pt x="11689718" y="770431"/>
                  <a:pt x="11689718" y="770431"/>
                </a:cubicBezTo>
                <a:lnTo>
                  <a:pt x="11689600" y="770431"/>
                </a:lnTo>
                <a:cubicBezTo>
                  <a:pt x="11689600" y="773599"/>
                  <a:pt x="11684340" y="775355"/>
                  <a:pt x="11678854" y="775355"/>
                </a:cubicBezTo>
                <a:cubicBezTo>
                  <a:pt x="11667052" y="775355"/>
                  <a:pt x="11658644" y="765379"/>
                  <a:pt x="11658644" y="748377"/>
                </a:cubicBezTo>
                <a:cubicBezTo>
                  <a:pt x="11658644" y="733358"/>
                  <a:pt x="11666825" y="723391"/>
                  <a:pt x="11678035" y="723391"/>
                </a:cubicBezTo>
                <a:close/>
                <a:moveTo>
                  <a:pt x="11575063" y="722651"/>
                </a:moveTo>
                <a:cubicBezTo>
                  <a:pt x="11579385" y="722651"/>
                  <a:pt x="11582543" y="723589"/>
                  <a:pt x="11585819" y="726756"/>
                </a:cubicBezTo>
                <a:cubicBezTo>
                  <a:pt x="11589332" y="730042"/>
                  <a:pt x="11591552" y="737325"/>
                  <a:pt x="11591552" y="749176"/>
                </a:cubicBezTo>
                <a:cubicBezTo>
                  <a:pt x="11591552" y="760682"/>
                  <a:pt x="11589332" y="768192"/>
                  <a:pt x="11585819" y="771477"/>
                </a:cubicBezTo>
                <a:cubicBezTo>
                  <a:pt x="11582543" y="774645"/>
                  <a:pt x="11579385" y="775464"/>
                  <a:pt x="11575063" y="775464"/>
                </a:cubicBezTo>
                <a:cubicBezTo>
                  <a:pt x="11570741" y="775464"/>
                  <a:pt x="11567810" y="774645"/>
                  <a:pt x="11564544" y="771477"/>
                </a:cubicBezTo>
                <a:cubicBezTo>
                  <a:pt x="11561149" y="768192"/>
                  <a:pt x="11558810" y="760909"/>
                  <a:pt x="11558810" y="749176"/>
                </a:cubicBezTo>
                <a:cubicBezTo>
                  <a:pt x="11558810" y="737552"/>
                  <a:pt x="11561149" y="730042"/>
                  <a:pt x="11564544" y="726756"/>
                </a:cubicBezTo>
                <a:cubicBezTo>
                  <a:pt x="11567820" y="723589"/>
                  <a:pt x="11570977" y="722651"/>
                  <a:pt x="11575063" y="722651"/>
                </a:cubicBezTo>
                <a:close/>
                <a:moveTo>
                  <a:pt x="11425386" y="722651"/>
                </a:moveTo>
                <a:cubicBezTo>
                  <a:pt x="11429738" y="722651"/>
                  <a:pt x="11432669" y="723589"/>
                  <a:pt x="11435955" y="726756"/>
                </a:cubicBezTo>
                <a:cubicBezTo>
                  <a:pt x="11439478" y="730042"/>
                  <a:pt x="11441708" y="737325"/>
                  <a:pt x="11441708" y="749176"/>
                </a:cubicBezTo>
                <a:cubicBezTo>
                  <a:pt x="11441708" y="760682"/>
                  <a:pt x="11439478" y="768192"/>
                  <a:pt x="11435955" y="771477"/>
                </a:cubicBezTo>
                <a:cubicBezTo>
                  <a:pt x="11432669" y="774645"/>
                  <a:pt x="11429501" y="775464"/>
                  <a:pt x="11425386" y="775464"/>
                </a:cubicBezTo>
                <a:cubicBezTo>
                  <a:pt x="11421044" y="775464"/>
                  <a:pt x="11418104" y="774645"/>
                  <a:pt x="11414581" y="771477"/>
                </a:cubicBezTo>
                <a:cubicBezTo>
                  <a:pt x="11411176" y="768192"/>
                  <a:pt x="11408828" y="760909"/>
                  <a:pt x="11408828" y="749176"/>
                </a:cubicBezTo>
                <a:cubicBezTo>
                  <a:pt x="11408828" y="737552"/>
                  <a:pt x="11411176" y="730042"/>
                  <a:pt x="11414581" y="726756"/>
                </a:cubicBezTo>
                <a:cubicBezTo>
                  <a:pt x="11417867" y="723589"/>
                  <a:pt x="11421034" y="722651"/>
                  <a:pt x="11425386" y="722651"/>
                </a:cubicBezTo>
                <a:close/>
                <a:moveTo>
                  <a:pt x="11313366" y="722651"/>
                </a:moveTo>
                <a:cubicBezTo>
                  <a:pt x="11317707" y="722651"/>
                  <a:pt x="11320648" y="723589"/>
                  <a:pt x="11324053" y="726756"/>
                </a:cubicBezTo>
                <a:cubicBezTo>
                  <a:pt x="11327467" y="730042"/>
                  <a:pt x="11329805" y="737325"/>
                  <a:pt x="11329805" y="749176"/>
                </a:cubicBezTo>
                <a:cubicBezTo>
                  <a:pt x="11329805" y="760682"/>
                  <a:pt x="11327575" y="768192"/>
                  <a:pt x="11324053" y="771477"/>
                </a:cubicBezTo>
                <a:cubicBezTo>
                  <a:pt x="11320766" y="774645"/>
                  <a:pt x="11317707" y="775464"/>
                  <a:pt x="11313366" y="775464"/>
                </a:cubicBezTo>
                <a:cubicBezTo>
                  <a:pt x="11309024" y="775464"/>
                  <a:pt x="11306083" y="774645"/>
                  <a:pt x="11302797" y="771477"/>
                </a:cubicBezTo>
                <a:cubicBezTo>
                  <a:pt x="11299274" y="768192"/>
                  <a:pt x="11297044" y="760909"/>
                  <a:pt x="11297044" y="749176"/>
                </a:cubicBezTo>
                <a:cubicBezTo>
                  <a:pt x="11297044" y="737552"/>
                  <a:pt x="11299274" y="730042"/>
                  <a:pt x="11302797" y="726756"/>
                </a:cubicBezTo>
                <a:cubicBezTo>
                  <a:pt x="11306083" y="723589"/>
                  <a:pt x="11309142" y="722651"/>
                  <a:pt x="11313366" y="722651"/>
                </a:cubicBezTo>
                <a:close/>
                <a:moveTo>
                  <a:pt x="11716875" y="717214"/>
                </a:moveTo>
                <a:cubicBezTo>
                  <a:pt x="11714783" y="717214"/>
                  <a:pt x="11714783" y="717914"/>
                  <a:pt x="11714783" y="719434"/>
                </a:cubicBezTo>
                <a:cubicBezTo>
                  <a:pt x="11714783" y="778513"/>
                  <a:pt x="11714783" y="778513"/>
                  <a:pt x="11714783" y="778513"/>
                </a:cubicBezTo>
                <a:cubicBezTo>
                  <a:pt x="11714783" y="780270"/>
                  <a:pt x="11714783" y="780734"/>
                  <a:pt x="11716648" y="780734"/>
                </a:cubicBezTo>
                <a:cubicBezTo>
                  <a:pt x="11723279" y="780734"/>
                  <a:pt x="11723279" y="780734"/>
                  <a:pt x="11723279" y="780734"/>
                </a:cubicBezTo>
                <a:cubicBezTo>
                  <a:pt x="11725134" y="780615"/>
                  <a:pt x="11725598" y="780615"/>
                  <a:pt x="11725598" y="778513"/>
                </a:cubicBezTo>
                <a:cubicBezTo>
                  <a:pt x="11725598" y="719434"/>
                  <a:pt x="11725598" y="719434"/>
                  <a:pt x="11725598" y="719434"/>
                </a:cubicBezTo>
                <a:cubicBezTo>
                  <a:pt x="11725598" y="717559"/>
                  <a:pt x="11725134" y="717214"/>
                  <a:pt x="11723269" y="717214"/>
                </a:cubicBezTo>
                <a:cubicBezTo>
                  <a:pt x="11716875" y="717214"/>
                  <a:pt x="11716875" y="717214"/>
                  <a:pt x="11716875" y="717214"/>
                </a:cubicBezTo>
                <a:close/>
                <a:moveTo>
                  <a:pt x="11824652" y="716908"/>
                </a:moveTo>
                <a:cubicBezTo>
                  <a:pt x="11822422" y="716908"/>
                  <a:pt x="11821593" y="716789"/>
                  <a:pt x="11820892" y="718901"/>
                </a:cubicBezTo>
                <a:cubicBezTo>
                  <a:pt x="11817370" y="729440"/>
                  <a:pt x="11808311" y="740808"/>
                  <a:pt x="11799144" y="746196"/>
                </a:cubicBezTo>
                <a:cubicBezTo>
                  <a:pt x="11798788" y="746551"/>
                  <a:pt x="11798670" y="746896"/>
                  <a:pt x="11798670" y="746896"/>
                </a:cubicBezTo>
                <a:cubicBezTo>
                  <a:pt x="11798670" y="747015"/>
                  <a:pt x="11798788" y="747360"/>
                  <a:pt x="11798788" y="747597"/>
                </a:cubicBezTo>
                <a:cubicBezTo>
                  <a:pt x="11820656" y="778869"/>
                  <a:pt x="11820656" y="778869"/>
                  <a:pt x="11820656" y="778869"/>
                </a:cubicBezTo>
                <a:cubicBezTo>
                  <a:pt x="11821948" y="780743"/>
                  <a:pt x="11822422" y="780743"/>
                  <a:pt x="11824297" y="780743"/>
                </a:cubicBezTo>
                <a:cubicBezTo>
                  <a:pt x="11832645" y="780743"/>
                  <a:pt x="11832645" y="780743"/>
                  <a:pt x="11832645" y="780743"/>
                </a:cubicBezTo>
                <a:cubicBezTo>
                  <a:pt x="11833227" y="780615"/>
                  <a:pt x="11834402" y="780615"/>
                  <a:pt x="11834402" y="779214"/>
                </a:cubicBezTo>
                <a:cubicBezTo>
                  <a:pt x="11834402" y="778750"/>
                  <a:pt x="11834046" y="778158"/>
                  <a:pt x="11833583" y="777694"/>
                </a:cubicBezTo>
                <a:cubicBezTo>
                  <a:pt x="11810304" y="746887"/>
                  <a:pt x="11810304" y="746887"/>
                  <a:pt x="11810304" y="746887"/>
                </a:cubicBezTo>
                <a:cubicBezTo>
                  <a:pt x="11810067" y="746650"/>
                  <a:pt x="11810067" y="746650"/>
                  <a:pt x="11810067" y="746650"/>
                </a:cubicBezTo>
                <a:cubicBezTo>
                  <a:pt x="11818297" y="740561"/>
                  <a:pt x="11826764" y="731068"/>
                  <a:pt x="11832053" y="720766"/>
                </a:cubicBezTo>
                <a:cubicBezTo>
                  <a:pt x="11832527" y="719592"/>
                  <a:pt x="11832645" y="719010"/>
                  <a:pt x="11832645" y="718309"/>
                </a:cubicBezTo>
                <a:cubicBezTo>
                  <a:pt x="11832645" y="717253"/>
                  <a:pt x="11832053" y="716908"/>
                  <a:pt x="11830415" y="716908"/>
                </a:cubicBezTo>
                <a:cubicBezTo>
                  <a:pt x="11824652" y="716908"/>
                  <a:pt x="11824652" y="716908"/>
                  <a:pt x="11824652" y="716908"/>
                </a:cubicBezTo>
                <a:close/>
                <a:moveTo>
                  <a:pt x="11344617" y="716908"/>
                </a:moveTo>
                <a:cubicBezTo>
                  <a:pt x="11344144" y="716908"/>
                  <a:pt x="11342969" y="716908"/>
                  <a:pt x="11342969" y="718546"/>
                </a:cubicBezTo>
                <a:cubicBezTo>
                  <a:pt x="11342969" y="719020"/>
                  <a:pt x="11343088" y="719602"/>
                  <a:pt x="11343443" y="720302"/>
                </a:cubicBezTo>
                <a:cubicBezTo>
                  <a:pt x="11365626" y="778849"/>
                  <a:pt x="11365626" y="778849"/>
                  <a:pt x="11365626" y="778849"/>
                </a:cubicBezTo>
                <a:cubicBezTo>
                  <a:pt x="11366327" y="780260"/>
                  <a:pt x="11366563" y="780724"/>
                  <a:pt x="11367619" y="780724"/>
                </a:cubicBezTo>
                <a:cubicBezTo>
                  <a:pt x="11372435" y="780724"/>
                  <a:pt x="11372435" y="780724"/>
                  <a:pt x="11372435" y="780724"/>
                </a:cubicBezTo>
                <a:cubicBezTo>
                  <a:pt x="11373846" y="780724"/>
                  <a:pt x="11374191" y="780487"/>
                  <a:pt x="11374665" y="778849"/>
                </a:cubicBezTo>
                <a:cubicBezTo>
                  <a:pt x="11396266" y="720075"/>
                  <a:pt x="11396266" y="720075"/>
                  <a:pt x="11396266" y="720075"/>
                </a:cubicBezTo>
                <a:cubicBezTo>
                  <a:pt x="11396503" y="718664"/>
                  <a:pt x="11396503" y="718546"/>
                  <a:pt x="11396503" y="718201"/>
                </a:cubicBezTo>
                <a:cubicBezTo>
                  <a:pt x="11396503" y="716908"/>
                  <a:pt x="11395565" y="716908"/>
                  <a:pt x="11394973" y="716908"/>
                </a:cubicBezTo>
                <a:cubicBezTo>
                  <a:pt x="11388865" y="716908"/>
                  <a:pt x="11388865" y="716908"/>
                  <a:pt x="11388865" y="716908"/>
                </a:cubicBezTo>
                <a:cubicBezTo>
                  <a:pt x="11388046" y="717145"/>
                  <a:pt x="11387927" y="717490"/>
                  <a:pt x="11387335" y="718664"/>
                </a:cubicBezTo>
                <a:cubicBezTo>
                  <a:pt x="11371369" y="765596"/>
                  <a:pt x="11371369" y="765596"/>
                  <a:pt x="11371369" y="765596"/>
                </a:cubicBezTo>
                <a:cubicBezTo>
                  <a:pt x="11354939" y="718901"/>
                  <a:pt x="11354939" y="718901"/>
                  <a:pt x="11354939" y="718901"/>
                </a:cubicBezTo>
                <a:cubicBezTo>
                  <a:pt x="11354238" y="717145"/>
                  <a:pt x="11354002" y="716908"/>
                  <a:pt x="11352127" y="716908"/>
                </a:cubicBezTo>
                <a:cubicBezTo>
                  <a:pt x="11344617" y="716908"/>
                  <a:pt x="11344617" y="716908"/>
                  <a:pt x="11344617" y="716908"/>
                </a:cubicBezTo>
                <a:close/>
                <a:moveTo>
                  <a:pt x="11758537" y="715842"/>
                </a:moveTo>
                <a:cubicBezTo>
                  <a:pt x="11747495" y="715842"/>
                  <a:pt x="11737518" y="721950"/>
                  <a:pt x="11737518" y="733328"/>
                </a:cubicBezTo>
                <a:cubicBezTo>
                  <a:pt x="11737518" y="744005"/>
                  <a:pt x="11745038" y="748465"/>
                  <a:pt x="11754077" y="752344"/>
                </a:cubicBezTo>
                <a:cubicBezTo>
                  <a:pt x="11761122" y="755274"/>
                  <a:pt x="11767695" y="758097"/>
                  <a:pt x="11767695" y="764669"/>
                </a:cubicBezTo>
                <a:cubicBezTo>
                  <a:pt x="11767695" y="769711"/>
                  <a:pt x="11763698" y="775464"/>
                  <a:pt x="11755133" y="775464"/>
                </a:cubicBezTo>
                <a:cubicBezTo>
                  <a:pt x="11746439" y="775464"/>
                  <a:pt x="11743982" y="769010"/>
                  <a:pt x="11739749" y="769010"/>
                </a:cubicBezTo>
                <a:cubicBezTo>
                  <a:pt x="11737755" y="769010"/>
                  <a:pt x="11735170" y="769948"/>
                  <a:pt x="11735170" y="773115"/>
                </a:cubicBezTo>
                <a:cubicBezTo>
                  <a:pt x="11735170" y="778158"/>
                  <a:pt x="11745038" y="782510"/>
                  <a:pt x="11754896" y="782510"/>
                </a:cubicBezTo>
                <a:cubicBezTo>
                  <a:pt x="11766047" y="782628"/>
                  <a:pt x="11777444" y="776757"/>
                  <a:pt x="11777444" y="763494"/>
                </a:cubicBezTo>
                <a:cubicBezTo>
                  <a:pt x="11777444" y="742722"/>
                  <a:pt x="11747268" y="746008"/>
                  <a:pt x="11747268" y="732272"/>
                </a:cubicBezTo>
                <a:cubicBezTo>
                  <a:pt x="11747268" y="727575"/>
                  <a:pt x="11750909" y="722878"/>
                  <a:pt x="11757836" y="722878"/>
                </a:cubicBezTo>
                <a:cubicBezTo>
                  <a:pt x="11765001" y="722878"/>
                  <a:pt x="11766875" y="727575"/>
                  <a:pt x="11770517" y="727575"/>
                </a:cubicBezTo>
                <a:cubicBezTo>
                  <a:pt x="11772392" y="727575"/>
                  <a:pt x="11775095" y="726519"/>
                  <a:pt x="11775095" y="723233"/>
                </a:cubicBezTo>
                <a:cubicBezTo>
                  <a:pt x="11775095" y="718536"/>
                  <a:pt x="11767112" y="715842"/>
                  <a:pt x="11758537" y="715842"/>
                </a:cubicBezTo>
                <a:close/>
                <a:moveTo>
                  <a:pt x="11630530" y="715487"/>
                </a:moveTo>
                <a:cubicBezTo>
                  <a:pt x="11623968" y="715487"/>
                  <a:pt x="11619863" y="716543"/>
                  <a:pt x="11616577" y="717362"/>
                </a:cubicBezTo>
                <a:cubicBezTo>
                  <a:pt x="11612354" y="718418"/>
                  <a:pt x="11610834" y="720401"/>
                  <a:pt x="11610834" y="722385"/>
                </a:cubicBezTo>
                <a:cubicBezTo>
                  <a:pt x="11610834" y="778395"/>
                  <a:pt x="11610834" y="778395"/>
                  <a:pt x="11610834" y="778395"/>
                </a:cubicBezTo>
                <a:cubicBezTo>
                  <a:pt x="11610834" y="780270"/>
                  <a:pt x="11611535" y="780378"/>
                  <a:pt x="11613301" y="780378"/>
                </a:cubicBezTo>
                <a:cubicBezTo>
                  <a:pt x="11619518" y="780378"/>
                  <a:pt x="11619518" y="780378"/>
                  <a:pt x="11619518" y="780378"/>
                </a:cubicBezTo>
                <a:cubicBezTo>
                  <a:pt x="11621037" y="780378"/>
                  <a:pt x="11621748" y="780260"/>
                  <a:pt x="11621748" y="778395"/>
                </a:cubicBezTo>
                <a:cubicBezTo>
                  <a:pt x="11621748" y="727062"/>
                  <a:pt x="11621748" y="727062"/>
                  <a:pt x="11621748" y="727062"/>
                </a:cubicBezTo>
                <a:cubicBezTo>
                  <a:pt x="11621748" y="723786"/>
                  <a:pt x="11624323" y="721566"/>
                  <a:pt x="11627965" y="721566"/>
                </a:cubicBezTo>
                <a:cubicBezTo>
                  <a:pt x="11635820" y="721566"/>
                  <a:pt x="11636994" y="727299"/>
                  <a:pt x="11641217" y="727299"/>
                </a:cubicBezTo>
                <a:cubicBezTo>
                  <a:pt x="11644247" y="727417"/>
                  <a:pt x="11646595" y="725542"/>
                  <a:pt x="11646595" y="721921"/>
                </a:cubicBezTo>
                <a:cubicBezTo>
                  <a:pt x="11646595" y="717362"/>
                  <a:pt x="11639096" y="715487"/>
                  <a:pt x="11630530" y="715487"/>
                </a:cubicBezTo>
                <a:close/>
                <a:moveTo>
                  <a:pt x="11575073" y="715487"/>
                </a:moveTo>
                <a:cubicBezTo>
                  <a:pt x="11569576" y="715487"/>
                  <a:pt x="11563734" y="717135"/>
                  <a:pt x="11559175" y="720066"/>
                </a:cubicBezTo>
                <a:cubicBezTo>
                  <a:pt x="11552159" y="725000"/>
                  <a:pt x="11547482" y="734384"/>
                  <a:pt x="11547482" y="749176"/>
                </a:cubicBezTo>
                <a:cubicBezTo>
                  <a:pt x="11547482" y="763849"/>
                  <a:pt x="11552159" y="773244"/>
                  <a:pt x="11559175" y="778168"/>
                </a:cubicBezTo>
                <a:cubicBezTo>
                  <a:pt x="11563498" y="781217"/>
                  <a:pt x="11569468" y="782628"/>
                  <a:pt x="11575073" y="782628"/>
                </a:cubicBezTo>
                <a:cubicBezTo>
                  <a:pt x="11580806" y="782628"/>
                  <a:pt x="11586648" y="781099"/>
                  <a:pt x="11590970" y="778168"/>
                </a:cubicBezTo>
                <a:cubicBezTo>
                  <a:pt x="11598104" y="773234"/>
                  <a:pt x="11602782" y="763849"/>
                  <a:pt x="11602782" y="749176"/>
                </a:cubicBezTo>
                <a:cubicBezTo>
                  <a:pt x="11602782" y="734384"/>
                  <a:pt x="11598104" y="725000"/>
                  <a:pt x="11590970" y="720066"/>
                </a:cubicBezTo>
                <a:cubicBezTo>
                  <a:pt x="11586529" y="716898"/>
                  <a:pt x="11580678" y="715487"/>
                  <a:pt x="11575073" y="715487"/>
                </a:cubicBezTo>
                <a:close/>
                <a:moveTo>
                  <a:pt x="11513260" y="715487"/>
                </a:moveTo>
                <a:cubicBezTo>
                  <a:pt x="11503925" y="715487"/>
                  <a:pt x="11497619" y="717480"/>
                  <a:pt x="11494235" y="718536"/>
                </a:cubicBezTo>
                <a:cubicBezTo>
                  <a:pt x="11490031" y="719947"/>
                  <a:pt x="11488748" y="721467"/>
                  <a:pt x="11488748" y="723579"/>
                </a:cubicBezTo>
                <a:cubicBezTo>
                  <a:pt x="11488748" y="778493"/>
                  <a:pt x="11488748" y="778493"/>
                  <a:pt x="11488748" y="778493"/>
                </a:cubicBezTo>
                <a:cubicBezTo>
                  <a:pt x="11488748" y="780487"/>
                  <a:pt x="11489212" y="780724"/>
                  <a:pt x="11491087" y="780724"/>
                </a:cubicBezTo>
                <a:cubicBezTo>
                  <a:pt x="11497156" y="780724"/>
                  <a:pt x="11497156" y="780724"/>
                  <a:pt x="11497156" y="780724"/>
                </a:cubicBezTo>
                <a:cubicBezTo>
                  <a:pt x="11498902" y="780724"/>
                  <a:pt x="11499721" y="780487"/>
                  <a:pt x="11499721" y="778257"/>
                </a:cubicBezTo>
                <a:cubicBezTo>
                  <a:pt x="11499721" y="727684"/>
                  <a:pt x="11499721" y="727684"/>
                  <a:pt x="11499721" y="727684"/>
                </a:cubicBezTo>
                <a:cubicBezTo>
                  <a:pt x="11499721" y="724980"/>
                  <a:pt x="11504389" y="722168"/>
                  <a:pt x="11512915" y="722168"/>
                </a:cubicBezTo>
                <a:cubicBezTo>
                  <a:pt x="11527154" y="722168"/>
                  <a:pt x="11527154" y="731433"/>
                  <a:pt x="11527154" y="737186"/>
                </a:cubicBezTo>
                <a:cubicBezTo>
                  <a:pt x="11527154" y="778257"/>
                  <a:pt x="11527154" y="778257"/>
                  <a:pt x="11527154" y="778257"/>
                </a:cubicBezTo>
                <a:cubicBezTo>
                  <a:pt x="11527154" y="780487"/>
                  <a:pt x="11527855" y="780724"/>
                  <a:pt x="11529957" y="780724"/>
                </a:cubicBezTo>
                <a:cubicBezTo>
                  <a:pt x="11536726" y="780724"/>
                  <a:pt x="11536726" y="780724"/>
                  <a:pt x="11536726" y="780724"/>
                </a:cubicBezTo>
                <a:cubicBezTo>
                  <a:pt x="11537890" y="780497"/>
                  <a:pt x="11537890" y="779322"/>
                  <a:pt x="11537890" y="778267"/>
                </a:cubicBezTo>
                <a:cubicBezTo>
                  <a:pt x="11537890" y="735785"/>
                  <a:pt x="11537890" y="735785"/>
                  <a:pt x="11537890" y="735785"/>
                </a:cubicBezTo>
                <a:cubicBezTo>
                  <a:pt x="11537890" y="728394"/>
                  <a:pt x="11537654" y="715487"/>
                  <a:pt x="11513260" y="715487"/>
                </a:cubicBezTo>
                <a:close/>
                <a:moveTo>
                  <a:pt x="11425159" y="715487"/>
                </a:moveTo>
                <a:cubicBezTo>
                  <a:pt x="11419525" y="715487"/>
                  <a:pt x="11413772" y="717135"/>
                  <a:pt x="11409193" y="720066"/>
                </a:cubicBezTo>
                <a:cubicBezTo>
                  <a:pt x="11402147" y="725000"/>
                  <a:pt x="11397450" y="734384"/>
                  <a:pt x="11397450" y="749176"/>
                </a:cubicBezTo>
                <a:cubicBezTo>
                  <a:pt x="11397450" y="763849"/>
                  <a:pt x="11402147" y="773244"/>
                  <a:pt x="11409193" y="778168"/>
                </a:cubicBezTo>
                <a:cubicBezTo>
                  <a:pt x="11413535" y="781217"/>
                  <a:pt x="11419525" y="782628"/>
                  <a:pt x="11425159" y="782628"/>
                </a:cubicBezTo>
                <a:cubicBezTo>
                  <a:pt x="11430912" y="782628"/>
                  <a:pt x="11436665" y="781099"/>
                  <a:pt x="11441126" y="778168"/>
                </a:cubicBezTo>
                <a:cubicBezTo>
                  <a:pt x="11448290" y="773234"/>
                  <a:pt x="11452987" y="763849"/>
                  <a:pt x="11452987" y="749176"/>
                </a:cubicBezTo>
                <a:cubicBezTo>
                  <a:pt x="11452987" y="734384"/>
                  <a:pt x="11448290" y="725000"/>
                  <a:pt x="11441126" y="720066"/>
                </a:cubicBezTo>
                <a:cubicBezTo>
                  <a:pt x="11436902" y="716898"/>
                  <a:pt x="11430912" y="715487"/>
                  <a:pt x="11425159" y="715487"/>
                </a:cubicBezTo>
                <a:close/>
                <a:moveTo>
                  <a:pt x="11313375" y="715487"/>
                </a:moveTo>
                <a:cubicBezTo>
                  <a:pt x="11307741" y="715487"/>
                  <a:pt x="11301869" y="717135"/>
                  <a:pt x="11297409" y="720066"/>
                </a:cubicBezTo>
                <a:cubicBezTo>
                  <a:pt x="11290245" y="725000"/>
                  <a:pt x="11285548" y="734384"/>
                  <a:pt x="11285548" y="749176"/>
                </a:cubicBezTo>
                <a:cubicBezTo>
                  <a:pt x="11285548" y="763849"/>
                  <a:pt x="11290245" y="773244"/>
                  <a:pt x="11297409" y="778168"/>
                </a:cubicBezTo>
                <a:cubicBezTo>
                  <a:pt x="11301751" y="781217"/>
                  <a:pt x="11307622" y="782628"/>
                  <a:pt x="11313375" y="782628"/>
                </a:cubicBezTo>
                <a:cubicBezTo>
                  <a:pt x="11319128" y="782628"/>
                  <a:pt x="11324763" y="781099"/>
                  <a:pt x="11329342" y="778168"/>
                </a:cubicBezTo>
                <a:cubicBezTo>
                  <a:pt x="11336387" y="773234"/>
                  <a:pt x="11341085" y="763849"/>
                  <a:pt x="11341085" y="749176"/>
                </a:cubicBezTo>
                <a:cubicBezTo>
                  <a:pt x="11341085" y="734384"/>
                  <a:pt x="11336387" y="725000"/>
                  <a:pt x="11329342" y="720066"/>
                </a:cubicBezTo>
                <a:cubicBezTo>
                  <a:pt x="11324763" y="716898"/>
                  <a:pt x="11319128" y="715487"/>
                  <a:pt x="11313375" y="715487"/>
                </a:cubicBezTo>
                <a:close/>
                <a:moveTo>
                  <a:pt x="11251444" y="715487"/>
                </a:moveTo>
                <a:cubicBezTo>
                  <a:pt x="11242060" y="715487"/>
                  <a:pt x="11235843" y="717480"/>
                  <a:pt x="11232330" y="718536"/>
                </a:cubicBezTo>
                <a:cubicBezTo>
                  <a:pt x="11228225" y="719947"/>
                  <a:pt x="11226814" y="721467"/>
                  <a:pt x="11226814" y="723579"/>
                </a:cubicBezTo>
                <a:cubicBezTo>
                  <a:pt x="11226814" y="778493"/>
                  <a:pt x="11226814" y="778493"/>
                  <a:pt x="11226814" y="778493"/>
                </a:cubicBezTo>
                <a:cubicBezTo>
                  <a:pt x="11226814" y="780487"/>
                  <a:pt x="11227288" y="780724"/>
                  <a:pt x="11229044" y="780724"/>
                </a:cubicBezTo>
                <a:cubicBezTo>
                  <a:pt x="11235143" y="780724"/>
                  <a:pt x="11235143" y="780724"/>
                  <a:pt x="11235143" y="780724"/>
                </a:cubicBezTo>
                <a:cubicBezTo>
                  <a:pt x="11236899" y="780724"/>
                  <a:pt x="11237718" y="780487"/>
                  <a:pt x="11237718" y="778257"/>
                </a:cubicBezTo>
                <a:cubicBezTo>
                  <a:pt x="11237718" y="727684"/>
                  <a:pt x="11237718" y="727684"/>
                  <a:pt x="11237718" y="727684"/>
                </a:cubicBezTo>
                <a:cubicBezTo>
                  <a:pt x="11237718" y="724980"/>
                  <a:pt x="11242405" y="722168"/>
                  <a:pt x="11250971" y="722168"/>
                </a:cubicBezTo>
                <a:cubicBezTo>
                  <a:pt x="11265279" y="722168"/>
                  <a:pt x="11265279" y="731433"/>
                  <a:pt x="11265279" y="737186"/>
                </a:cubicBezTo>
                <a:cubicBezTo>
                  <a:pt x="11265279" y="778257"/>
                  <a:pt x="11265279" y="778257"/>
                  <a:pt x="11265279" y="778257"/>
                </a:cubicBezTo>
                <a:cubicBezTo>
                  <a:pt x="11265279" y="780487"/>
                  <a:pt x="11265980" y="780724"/>
                  <a:pt x="11268092" y="780724"/>
                </a:cubicBezTo>
                <a:cubicBezTo>
                  <a:pt x="11274890" y="780724"/>
                  <a:pt x="11274890" y="780724"/>
                  <a:pt x="11274890" y="780724"/>
                </a:cubicBezTo>
                <a:cubicBezTo>
                  <a:pt x="11276075" y="780497"/>
                  <a:pt x="11276193" y="779322"/>
                  <a:pt x="11276193" y="778267"/>
                </a:cubicBezTo>
                <a:cubicBezTo>
                  <a:pt x="11276193" y="735785"/>
                  <a:pt x="11276193" y="735785"/>
                  <a:pt x="11276193" y="735785"/>
                </a:cubicBezTo>
                <a:cubicBezTo>
                  <a:pt x="11276193" y="728394"/>
                  <a:pt x="11276075" y="715487"/>
                  <a:pt x="11251444" y="715487"/>
                </a:cubicBezTo>
                <a:close/>
                <a:moveTo>
                  <a:pt x="11691820" y="694162"/>
                </a:moveTo>
                <a:cubicBezTo>
                  <a:pt x="11689718" y="694162"/>
                  <a:pt x="11689600" y="694863"/>
                  <a:pt x="11689600" y="696975"/>
                </a:cubicBezTo>
                <a:cubicBezTo>
                  <a:pt x="11689600" y="719266"/>
                  <a:pt x="11689600" y="719266"/>
                  <a:pt x="11689600" y="719266"/>
                </a:cubicBezTo>
                <a:cubicBezTo>
                  <a:pt x="11685741" y="717273"/>
                  <a:pt x="11682001" y="715862"/>
                  <a:pt x="11676278" y="715862"/>
                </a:cubicBezTo>
                <a:cubicBezTo>
                  <a:pt x="11657233" y="715862"/>
                  <a:pt x="11647533" y="734048"/>
                  <a:pt x="11647533" y="749176"/>
                </a:cubicBezTo>
                <a:cubicBezTo>
                  <a:pt x="11647533" y="771704"/>
                  <a:pt x="11659799" y="782608"/>
                  <a:pt x="11678498" y="782608"/>
                </a:cubicBezTo>
                <a:cubicBezTo>
                  <a:pt x="11687498" y="782628"/>
                  <a:pt x="11700237" y="778168"/>
                  <a:pt x="11700237" y="773944"/>
                </a:cubicBezTo>
                <a:cubicBezTo>
                  <a:pt x="11700237" y="696629"/>
                  <a:pt x="11700237" y="696629"/>
                  <a:pt x="11700237" y="696629"/>
                </a:cubicBezTo>
                <a:cubicBezTo>
                  <a:pt x="11700237" y="694281"/>
                  <a:pt x="11699537" y="694162"/>
                  <a:pt x="11697899" y="694162"/>
                </a:cubicBezTo>
                <a:cubicBezTo>
                  <a:pt x="11691820" y="694162"/>
                  <a:pt x="11691820" y="694162"/>
                  <a:pt x="11691820" y="694162"/>
                </a:cubicBezTo>
                <a:close/>
                <a:moveTo>
                  <a:pt x="11788328" y="693935"/>
                </a:moveTo>
                <a:cubicBezTo>
                  <a:pt x="11787036" y="693935"/>
                  <a:pt x="11786325" y="694172"/>
                  <a:pt x="11786325" y="695929"/>
                </a:cubicBezTo>
                <a:cubicBezTo>
                  <a:pt x="11786325" y="778740"/>
                  <a:pt x="11786325" y="778740"/>
                  <a:pt x="11786325" y="778740"/>
                </a:cubicBezTo>
                <a:cubicBezTo>
                  <a:pt x="11786325" y="780378"/>
                  <a:pt x="11786680" y="780615"/>
                  <a:pt x="11788328" y="780615"/>
                </a:cubicBezTo>
                <a:cubicBezTo>
                  <a:pt x="11794792" y="780615"/>
                  <a:pt x="11794792" y="780615"/>
                  <a:pt x="11794792" y="780615"/>
                </a:cubicBezTo>
                <a:cubicBezTo>
                  <a:pt x="11796311" y="780615"/>
                  <a:pt x="11797022" y="780615"/>
                  <a:pt x="11797022" y="778859"/>
                </a:cubicBezTo>
                <a:cubicBezTo>
                  <a:pt x="11797022" y="695692"/>
                  <a:pt x="11797022" y="695692"/>
                  <a:pt x="11797022" y="695692"/>
                </a:cubicBezTo>
                <a:cubicBezTo>
                  <a:pt x="11797022" y="693935"/>
                  <a:pt x="11796203" y="693935"/>
                  <a:pt x="11794792" y="693935"/>
                </a:cubicBezTo>
                <a:cubicBezTo>
                  <a:pt x="11788328" y="693935"/>
                  <a:pt x="11788328" y="693935"/>
                  <a:pt x="11788328" y="693935"/>
                </a:cubicBezTo>
                <a:close/>
                <a:moveTo>
                  <a:pt x="11720486" y="693225"/>
                </a:moveTo>
                <a:cubicBezTo>
                  <a:pt x="11716529" y="693225"/>
                  <a:pt x="11713737" y="696037"/>
                  <a:pt x="11713737" y="699777"/>
                </a:cubicBezTo>
                <a:cubicBezTo>
                  <a:pt x="11713737" y="703290"/>
                  <a:pt x="11716184" y="706211"/>
                  <a:pt x="11720250" y="706211"/>
                </a:cubicBezTo>
                <a:cubicBezTo>
                  <a:pt x="11724434" y="706093"/>
                  <a:pt x="11726999" y="702817"/>
                  <a:pt x="11726881" y="699313"/>
                </a:cubicBezTo>
                <a:cubicBezTo>
                  <a:pt x="11726644" y="695682"/>
                  <a:pt x="11723743" y="693225"/>
                  <a:pt x="11720486" y="693225"/>
                </a:cubicBezTo>
                <a:close/>
                <a:moveTo>
                  <a:pt x="11850723" y="683919"/>
                </a:moveTo>
                <a:lnTo>
                  <a:pt x="11850963" y="684096"/>
                </a:lnTo>
                <a:lnTo>
                  <a:pt x="11850723" y="684156"/>
                </a:lnTo>
                <a:cubicBezTo>
                  <a:pt x="11850723" y="684156"/>
                  <a:pt x="11850723" y="684156"/>
                  <a:pt x="11850723" y="683919"/>
                </a:cubicBezTo>
                <a:close/>
                <a:moveTo>
                  <a:pt x="11843579" y="675354"/>
                </a:moveTo>
                <a:cubicBezTo>
                  <a:pt x="11847437" y="675354"/>
                  <a:pt x="11847437" y="675354"/>
                  <a:pt x="11847437" y="675354"/>
                </a:cubicBezTo>
                <a:cubicBezTo>
                  <a:pt x="11849430" y="675354"/>
                  <a:pt x="11852707" y="675354"/>
                  <a:pt x="11852707" y="678522"/>
                </a:cubicBezTo>
                <a:cubicBezTo>
                  <a:pt x="11852707" y="681689"/>
                  <a:pt x="11849312" y="681689"/>
                  <a:pt x="11847792" y="681689"/>
                </a:cubicBezTo>
                <a:cubicBezTo>
                  <a:pt x="11843579" y="681689"/>
                  <a:pt x="11843579" y="681689"/>
                  <a:pt x="11843579" y="681689"/>
                </a:cubicBezTo>
                <a:close/>
                <a:moveTo>
                  <a:pt x="11840303" y="672413"/>
                </a:moveTo>
                <a:lnTo>
                  <a:pt x="11840303" y="693659"/>
                </a:lnTo>
                <a:cubicBezTo>
                  <a:pt x="11843816" y="693659"/>
                  <a:pt x="11843816" y="693659"/>
                  <a:pt x="11843816" y="693659"/>
                </a:cubicBezTo>
                <a:cubicBezTo>
                  <a:pt x="11843816" y="684620"/>
                  <a:pt x="11843816" y="684620"/>
                  <a:pt x="11843816" y="684620"/>
                </a:cubicBezTo>
                <a:cubicBezTo>
                  <a:pt x="11845809" y="684620"/>
                  <a:pt x="11845809" y="684620"/>
                  <a:pt x="11845809" y="684620"/>
                </a:cubicBezTo>
                <a:cubicBezTo>
                  <a:pt x="11848621" y="684620"/>
                  <a:pt x="11849667" y="685676"/>
                  <a:pt x="11852124" y="690255"/>
                </a:cubicBezTo>
                <a:cubicBezTo>
                  <a:pt x="11853999" y="693541"/>
                  <a:pt x="11853999" y="693541"/>
                  <a:pt x="11853999" y="693541"/>
                </a:cubicBezTo>
                <a:cubicBezTo>
                  <a:pt x="11858094" y="693541"/>
                  <a:pt x="11858094" y="693541"/>
                  <a:pt x="11858094" y="693541"/>
                </a:cubicBezTo>
                <a:cubicBezTo>
                  <a:pt x="11855519" y="689317"/>
                  <a:pt x="11855519" y="689317"/>
                  <a:pt x="11855519" y="689317"/>
                </a:cubicBezTo>
                <a:cubicBezTo>
                  <a:pt x="11854231" y="687265"/>
                  <a:pt x="11853323" y="686061"/>
                  <a:pt x="11852592" y="685297"/>
                </a:cubicBezTo>
                <a:lnTo>
                  <a:pt x="11850963" y="684096"/>
                </a:lnTo>
                <a:lnTo>
                  <a:pt x="11853484" y="683467"/>
                </a:lnTo>
                <a:cubicBezTo>
                  <a:pt x="11855772" y="682328"/>
                  <a:pt x="11856693" y="680017"/>
                  <a:pt x="11856693" y="678166"/>
                </a:cubicBezTo>
                <a:cubicBezTo>
                  <a:pt x="11856693" y="676410"/>
                  <a:pt x="11855874" y="674880"/>
                  <a:pt x="11854700" y="674061"/>
                </a:cubicBezTo>
                <a:cubicBezTo>
                  <a:pt x="11852944" y="672413"/>
                  <a:pt x="11850141" y="672413"/>
                  <a:pt x="11847792" y="672413"/>
                </a:cubicBezTo>
                <a:cubicBezTo>
                  <a:pt x="11840303" y="672413"/>
                  <a:pt x="11840303" y="672413"/>
                  <a:pt x="11840303" y="672413"/>
                </a:cubicBezTo>
                <a:close/>
                <a:moveTo>
                  <a:pt x="11848612" y="666552"/>
                </a:moveTo>
                <a:cubicBezTo>
                  <a:pt x="11857621" y="666552"/>
                  <a:pt x="11864992" y="673824"/>
                  <a:pt x="11864992" y="682863"/>
                </a:cubicBezTo>
                <a:cubicBezTo>
                  <a:pt x="11864992" y="691902"/>
                  <a:pt x="11857739" y="699412"/>
                  <a:pt x="11848612" y="699412"/>
                </a:cubicBezTo>
                <a:cubicBezTo>
                  <a:pt x="11839602" y="699412"/>
                  <a:pt x="11832349" y="691902"/>
                  <a:pt x="11832349" y="682863"/>
                </a:cubicBezTo>
                <a:cubicBezTo>
                  <a:pt x="11832231" y="673824"/>
                  <a:pt x="11839484" y="666552"/>
                  <a:pt x="11848612" y="666552"/>
                </a:cubicBezTo>
                <a:close/>
                <a:moveTo>
                  <a:pt x="11848612" y="663147"/>
                </a:moveTo>
                <a:cubicBezTo>
                  <a:pt x="11837846" y="663147"/>
                  <a:pt x="11829073" y="671950"/>
                  <a:pt x="11829073" y="682863"/>
                </a:cubicBezTo>
                <a:cubicBezTo>
                  <a:pt x="11829073" y="693896"/>
                  <a:pt x="11837846" y="702580"/>
                  <a:pt x="11848612" y="702580"/>
                </a:cubicBezTo>
                <a:cubicBezTo>
                  <a:pt x="11859496" y="702580"/>
                  <a:pt x="11868150" y="693659"/>
                  <a:pt x="11868150" y="682863"/>
                </a:cubicBezTo>
                <a:cubicBezTo>
                  <a:pt x="11868150" y="672068"/>
                  <a:pt x="11859377" y="663147"/>
                  <a:pt x="11848612" y="663147"/>
                </a:cubicBezTo>
                <a:close/>
                <a:moveTo>
                  <a:pt x="11653507" y="535252"/>
                </a:moveTo>
                <a:cubicBezTo>
                  <a:pt x="11654048" y="535208"/>
                  <a:pt x="11654692" y="535472"/>
                  <a:pt x="11655161" y="535999"/>
                </a:cubicBezTo>
                <a:cubicBezTo>
                  <a:pt x="11662315" y="543499"/>
                  <a:pt x="11659858" y="600121"/>
                  <a:pt x="11658328" y="611371"/>
                </a:cubicBezTo>
                <a:cubicBezTo>
                  <a:pt x="11657973" y="614183"/>
                  <a:pt x="11655398" y="616413"/>
                  <a:pt x="11654697" y="610670"/>
                </a:cubicBezTo>
                <a:cubicBezTo>
                  <a:pt x="11653878" y="603407"/>
                  <a:pt x="11650010" y="586642"/>
                  <a:pt x="11648835" y="579724"/>
                </a:cubicBezTo>
                <a:cubicBezTo>
                  <a:pt x="11647543" y="573162"/>
                  <a:pt x="11651184" y="553120"/>
                  <a:pt x="11652467" y="536355"/>
                </a:cubicBezTo>
                <a:cubicBezTo>
                  <a:pt x="11652526" y="535649"/>
                  <a:pt x="11652965" y="535296"/>
                  <a:pt x="11653507" y="535252"/>
                </a:cubicBezTo>
                <a:close/>
                <a:moveTo>
                  <a:pt x="11517474" y="490400"/>
                </a:moveTo>
                <a:cubicBezTo>
                  <a:pt x="11535542" y="492867"/>
                  <a:pt x="11553837" y="493331"/>
                  <a:pt x="11571777" y="492275"/>
                </a:cubicBezTo>
                <a:cubicBezTo>
                  <a:pt x="11574708" y="503406"/>
                  <a:pt x="11574352" y="517941"/>
                  <a:pt x="11570247" y="522046"/>
                </a:cubicBezTo>
                <a:cubicBezTo>
                  <a:pt x="11563675" y="528727"/>
                  <a:pt x="11534012" y="527434"/>
                  <a:pt x="11525565" y="526151"/>
                </a:cubicBezTo>
                <a:cubicBezTo>
                  <a:pt x="11523217" y="525796"/>
                  <a:pt x="11520878" y="525451"/>
                  <a:pt x="11519585" y="519352"/>
                </a:cubicBezTo>
                <a:cubicBezTo>
                  <a:pt x="11518174" y="512198"/>
                  <a:pt x="11518056" y="499074"/>
                  <a:pt x="11517474" y="490400"/>
                </a:cubicBezTo>
                <a:close/>
                <a:moveTo>
                  <a:pt x="11612235" y="487469"/>
                </a:moveTo>
                <a:cubicBezTo>
                  <a:pt x="11617278" y="496844"/>
                  <a:pt x="11617633" y="502241"/>
                  <a:pt x="11616222" y="506929"/>
                </a:cubicBezTo>
                <a:cubicBezTo>
                  <a:pt x="11614811" y="511616"/>
                  <a:pt x="11608249" y="514310"/>
                  <a:pt x="11606838" y="513728"/>
                </a:cubicBezTo>
                <a:cubicBezTo>
                  <a:pt x="11606601" y="503643"/>
                  <a:pt x="11603907" y="496025"/>
                  <a:pt x="11599210" y="489226"/>
                </a:cubicBezTo>
                <a:cubicBezTo>
                  <a:pt x="11603325" y="488525"/>
                  <a:pt x="11607666" y="487943"/>
                  <a:pt x="11612235" y="487469"/>
                </a:cubicBezTo>
                <a:close/>
                <a:moveTo>
                  <a:pt x="11472446" y="480680"/>
                </a:moveTo>
                <a:cubicBezTo>
                  <a:pt x="11478189" y="482436"/>
                  <a:pt x="11484061" y="483966"/>
                  <a:pt x="11489804" y="485367"/>
                </a:cubicBezTo>
                <a:cubicBezTo>
                  <a:pt x="11485817" y="510570"/>
                  <a:pt x="11477963" y="517714"/>
                  <a:pt x="11473857" y="519362"/>
                </a:cubicBezTo>
                <a:cubicBezTo>
                  <a:pt x="11470680" y="520645"/>
                  <a:pt x="11463763" y="521346"/>
                  <a:pt x="11466230" y="513382"/>
                </a:cubicBezTo>
                <a:cubicBezTo>
                  <a:pt x="11468696" y="505409"/>
                  <a:pt x="11471035" y="491811"/>
                  <a:pt x="11472446" y="480680"/>
                </a:cubicBezTo>
                <a:close/>
                <a:moveTo>
                  <a:pt x="11452359" y="474250"/>
                </a:moveTo>
                <a:cubicBezTo>
                  <a:pt x="11454339" y="474382"/>
                  <a:pt x="11457447" y="475583"/>
                  <a:pt x="11463427" y="477868"/>
                </a:cubicBezTo>
                <a:cubicBezTo>
                  <a:pt x="11462608" y="497209"/>
                  <a:pt x="11457684" y="508231"/>
                  <a:pt x="11455799" y="518069"/>
                </a:cubicBezTo>
                <a:cubicBezTo>
                  <a:pt x="11453687" y="528154"/>
                  <a:pt x="11464947" y="530493"/>
                  <a:pt x="11474913" y="528036"/>
                </a:cubicBezTo>
                <a:cubicBezTo>
                  <a:pt x="11484761" y="525579"/>
                  <a:pt x="11494146" y="515257"/>
                  <a:pt x="11498251" y="487242"/>
                </a:cubicBezTo>
                <a:cubicBezTo>
                  <a:pt x="11502119" y="488180"/>
                  <a:pt x="11505287" y="488653"/>
                  <a:pt x="11509273" y="489235"/>
                </a:cubicBezTo>
                <a:cubicBezTo>
                  <a:pt x="11509747" y="518306"/>
                  <a:pt x="11511503" y="524868"/>
                  <a:pt x="11512678" y="527444"/>
                </a:cubicBezTo>
                <a:cubicBezTo>
                  <a:pt x="11514908" y="532832"/>
                  <a:pt x="11520306" y="534598"/>
                  <a:pt x="11524638" y="534944"/>
                </a:cubicBezTo>
                <a:cubicBezTo>
                  <a:pt x="11547393" y="536700"/>
                  <a:pt x="11569438" y="535999"/>
                  <a:pt x="11577175" y="528381"/>
                </a:cubicBezTo>
                <a:cubicBezTo>
                  <a:pt x="11585029" y="520645"/>
                  <a:pt x="11582336" y="501778"/>
                  <a:pt x="11580105" y="491574"/>
                </a:cubicBezTo>
                <a:cubicBezTo>
                  <a:pt x="11583737" y="491219"/>
                  <a:pt x="11586677" y="490874"/>
                  <a:pt x="11590190" y="490400"/>
                </a:cubicBezTo>
                <a:cubicBezTo>
                  <a:pt x="11597700" y="499074"/>
                  <a:pt x="11598637" y="508567"/>
                  <a:pt x="11598637" y="514547"/>
                </a:cubicBezTo>
                <a:cubicBezTo>
                  <a:pt x="11598637" y="521227"/>
                  <a:pt x="11606028" y="524740"/>
                  <a:pt x="11616350" y="517596"/>
                </a:cubicBezTo>
                <a:cubicBezTo>
                  <a:pt x="11626554" y="510442"/>
                  <a:pt x="11625616" y="497899"/>
                  <a:pt x="11619982" y="486532"/>
                </a:cubicBezTo>
                <a:cubicBezTo>
                  <a:pt x="11643438" y="484657"/>
                  <a:pt x="11642263" y="500011"/>
                  <a:pt x="11640971" y="519007"/>
                </a:cubicBezTo>
                <a:cubicBezTo>
                  <a:pt x="11639796" y="537766"/>
                  <a:pt x="11635573" y="564370"/>
                  <a:pt x="11629248" y="567419"/>
                </a:cubicBezTo>
                <a:cubicBezTo>
                  <a:pt x="11622794" y="570113"/>
                  <a:pt x="11612709" y="552883"/>
                  <a:pt x="11560172" y="552064"/>
                </a:cubicBezTo>
                <a:cubicBezTo>
                  <a:pt x="11522881" y="551364"/>
                  <a:pt x="11494264" y="556406"/>
                  <a:pt x="11488985" y="590510"/>
                </a:cubicBezTo>
                <a:cubicBezTo>
                  <a:pt x="11488630" y="592967"/>
                  <a:pt x="11487228" y="592622"/>
                  <a:pt x="11485936" y="591329"/>
                </a:cubicBezTo>
                <a:cubicBezTo>
                  <a:pt x="11475732" y="580198"/>
                  <a:pt x="11466348" y="575155"/>
                  <a:pt x="11451339" y="566482"/>
                </a:cubicBezTo>
                <a:cubicBezTo>
                  <a:pt x="11436211" y="557571"/>
                  <a:pt x="11426126" y="545621"/>
                  <a:pt x="11424251" y="533779"/>
                </a:cubicBezTo>
                <a:cubicBezTo>
                  <a:pt x="11422376" y="521938"/>
                  <a:pt x="11426718" y="506119"/>
                  <a:pt x="11448063" y="477049"/>
                </a:cubicBezTo>
                <a:cubicBezTo>
                  <a:pt x="11449528" y="475055"/>
                  <a:pt x="11450379" y="474118"/>
                  <a:pt x="11452359" y="474250"/>
                </a:cubicBezTo>
                <a:close/>
                <a:moveTo>
                  <a:pt x="11396326" y="460950"/>
                </a:moveTo>
                <a:cubicBezTo>
                  <a:pt x="11391048" y="460905"/>
                  <a:pt x="11381657" y="463357"/>
                  <a:pt x="11385431" y="468700"/>
                </a:cubicBezTo>
                <a:cubicBezTo>
                  <a:pt x="11390464" y="476052"/>
                  <a:pt x="11400411" y="463914"/>
                  <a:pt x="11399591" y="461813"/>
                </a:cubicBezTo>
                <a:cubicBezTo>
                  <a:pt x="11399387" y="461258"/>
                  <a:pt x="11398085" y="460965"/>
                  <a:pt x="11396326" y="460950"/>
                </a:cubicBezTo>
                <a:close/>
                <a:moveTo>
                  <a:pt x="11392926" y="446221"/>
                </a:moveTo>
                <a:cubicBezTo>
                  <a:pt x="11397285" y="445315"/>
                  <a:pt x="11403045" y="448414"/>
                  <a:pt x="11415804" y="456060"/>
                </a:cubicBezTo>
                <a:cubicBezTo>
                  <a:pt x="11436448" y="468602"/>
                  <a:pt x="11442783" y="466026"/>
                  <a:pt x="11435738" y="477157"/>
                </a:cubicBezTo>
                <a:cubicBezTo>
                  <a:pt x="11431396" y="484311"/>
                  <a:pt x="11416732" y="503297"/>
                  <a:pt x="11413101" y="526625"/>
                </a:cubicBezTo>
                <a:cubicBezTo>
                  <a:pt x="11408177" y="520063"/>
                  <a:pt x="11401486" y="503771"/>
                  <a:pt x="11395861" y="499311"/>
                </a:cubicBezTo>
                <a:cubicBezTo>
                  <a:pt x="11384839" y="490637"/>
                  <a:pt x="11375336" y="497317"/>
                  <a:pt x="11371231" y="492275"/>
                </a:cubicBezTo>
                <a:cubicBezTo>
                  <a:pt x="11366652" y="486768"/>
                  <a:pt x="11364777" y="486413"/>
                  <a:pt x="11368882" y="481144"/>
                </a:cubicBezTo>
                <a:cubicBezTo>
                  <a:pt x="11368882" y="481144"/>
                  <a:pt x="11373807" y="474700"/>
                  <a:pt x="11375681" y="471996"/>
                </a:cubicBezTo>
                <a:cubicBezTo>
                  <a:pt x="11377793" y="469184"/>
                  <a:pt x="11377211" y="463905"/>
                  <a:pt x="11378148" y="461684"/>
                </a:cubicBezTo>
                <a:cubicBezTo>
                  <a:pt x="11378967" y="459454"/>
                  <a:pt x="11384010" y="452774"/>
                  <a:pt x="11388825" y="448442"/>
                </a:cubicBezTo>
                <a:cubicBezTo>
                  <a:pt x="11390175" y="447270"/>
                  <a:pt x="11391473" y="446523"/>
                  <a:pt x="11392926" y="446221"/>
                </a:cubicBezTo>
                <a:close/>
                <a:moveTo>
                  <a:pt x="11365096" y="390642"/>
                </a:moveTo>
                <a:cubicBezTo>
                  <a:pt x="11364099" y="390848"/>
                  <a:pt x="11363366" y="392841"/>
                  <a:pt x="11363366" y="397119"/>
                </a:cubicBezTo>
                <a:cubicBezTo>
                  <a:pt x="11363366" y="418571"/>
                  <a:pt x="11372751" y="431459"/>
                  <a:pt x="11376037" y="435100"/>
                </a:cubicBezTo>
                <a:cubicBezTo>
                  <a:pt x="11379204" y="438732"/>
                  <a:pt x="11380724" y="442363"/>
                  <a:pt x="11378967" y="444475"/>
                </a:cubicBezTo>
                <a:cubicBezTo>
                  <a:pt x="11374280" y="449981"/>
                  <a:pt x="11369238" y="456079"/>
                  <a:pt x="11369119" y="458536"/>
                </a:cubicBezTo>
                <a:cubicBezTo>
                  <a:pt x="11368882" y="461230"/>
                  <a:pt x="11369119" y="462523"/>
                  <a:pt x="11368063" y="465572"/>
                </a:cubicBezTo>
                <a:cubicBezTo>
                  <a:pt x="11367008" y="468503"/>
                  <a:pt x="11363258" y="472835"/>
                  <a:pt x="11357278" y="480108"/>
                </a:cubicBezTo>
                <a:cubicBezTo>
                  <a:pt x="11353992" y="484331"/>
                  <a:pt x="11356104" y="488900"/>
                  <a:pt x="11358916" y="491949"/>
                </a:cubicBezTo>
                <a:cubicBezTo>
                  <a:pt x="11362202" y="495699"/>
                  <a:pt x="11364432" y="500041"/>
                  <a:pt x="11368537" y="501916"/>
                </a:cubicBezTo>
                <a:cubicBezTo>
                  <a:pt x="11372761" y="503791"/>
                  <a:pt x="11376510" y="502498"/>
                  <a:pt x="11381434" y="503327"/>
                </a:cubicBezTo>
                <a:cubicBezTo>
                  <a:pt x="11386122" y="504146"/>
                  <a:pt x="11391993" y="506958"/>
                  <a:pt x="11396680" y="515287"/>
                </a:cubicBezTo>
                <a:cubicBezTo>
                  <a:pt x="11403479" y="527474"/>
                  <a:pt x="11410752" y="546469"/>
                  <a:pt x="11423886" y="562169"/>
                </a:cubicBezTo>
                <a:cubicBezTo>
                  <a:pt x="11429748" y="569087"/>
                  <a:pt x="11429748" y="581866"/>
                  <a:pt x="11429748" y="585961"/>
                </a:cubicBezTo>
                <a:cubicBezTo>
                  <a:pt x="11430103" y="622768"/>
                  <a:pt x="11410870" y="657582"/>
                  <a:pt x="11398555" y="679735"/>
                </a:cubicBezTo>
                <a:cubicBezTo>
                  <a:pt x="11395625" y="684896"/>
                  <a:pt x="11396325" y="689228"/>
                  <a:pt x="11400193" y="689228"/>
                </a:cubicBezTo>
                <a:cubicBezTo>
                  <a:pt x="11404654" y="689228"/>
                  <a:pt x="11421301" y="689228"/>
                  <a:pt x="11424123" y="689228"/>
                </a:cubicBezTo>
                <a:cubicBezTo>
                  <a:pt x="11427172" y="689228"/>
                  <a:pt x="11429047" y="685942"/>
                  <a:pt x="11429284" y="682429"/>
                </a:cubicBezTo>
                <a:cubicBezTo>
                  <a:pt x="11431396" y="652303"/>
                  <a:pt x="11448398" y="597092"/>
                  <a:pt x="11461187" y="587717"/>
                </a:cubicBezTo>
                <a:cubicBezTo>
                  <a:pt x="11482650" y="601197"/>
                  <a:pt x="11503994" y="630031"/>
                  <a:pt x="11493554" y="680554"/>
                </a:cubicBezTo>
                <a:cubicBezTo>
                  <a:pt x="11493080" y="683367"/>
                  <a:pt x="11490505" y="689465"/>
                  <a:pt x="11496958" y="689465"/>
                </a:cubicBezTo>
                <a:cubicBezTo>
                  <a:pt x="11496958" y="689465"/>
                  <a:pt x="11515135" y="689465"/>
                  <a:pt x="11517484" y="689465"/>
                </a:cubicBezTo>
                <a:cubicBezTo>
                  <a:pt x="11520177" y="689465"/>
                  <a:pt x="11524519" y="688409"/>
                  <a:pt x="11524164" y="683485"/>
                </a:cubicBezTo>
                <a:cubicBezTo>
                  <a:pt x="11523108" y="663789"/>
                  <a:pt x="11506570" y="622186"/>
                  <a:pt x="11502238" y="597684"/>
                </a:cubicBezTo>
                <a:cubicBezTo>
                  <a:pt x="11499544" y="582211"/>
                  <a:pt x="11511859" y="554551"/>
                  <a:pt x="11558297" y="575767"/>
                </a:cubicBezTo>
                <a:cubicBezTo>
                  <a:pt x="11576128" y="559712"/>
                  <a:pt x="11599585" y="569442"/>
                  <a:pt x="11589490" y="600269"/>
                </a:cubicBezTo>
                <a:cubicBezTo>
                  <a:pt x="11579642" y="630978"/>
                  <a:pt x="11571076" y="644458"/>
                  <a:pt x="11537298" y="680564"/>
                </a:cubicBezTo>
                <a:cubicBezTo>
                  <a:pt x="11533548" y="684788"/>
                  <a:pt x="11533193" y="689238"/>
                  <a:pt x="11539410" y="689238"/>
                </a:cubicBezTo>
                <a:cubicBezTo>
                  <a:pt x="11542459" y="689238"/>
                  <a:pt x="11557942" y="689238"/>
                  <a:pt x="11561110" y="689238"/>
                </a:cubicBezTo>
                <a:cubicBezTo>
                  <a:pt x="11565797" y="689238"/>
                  <a:pt x="11567682" y="687827"/>
                  <a:pt x="11569083" y="684196"/>
                </a:cubicBezTo>
                <a:cubicBezTo>
                  <a:pt x="11570376" y="680327"/>
                  <a:pt x="11585858" y="631333"/>
                  <a:pt x="11616232" y="608361"/>
                </a:cubicBezTo>
                <a:cubicBezTo>
                  <a:pt x="11618580" y="606604"/>
                  <a:pt x="11620574" y="598750"/>
                  <a:pt x="11625261" y="580820"/>
                </a:cubicBezTo>
                <a:cubicBezTo>
                  <a:pt x="11639925" y="600161"/>
                  <a:pt x="11641918" y="635320"/>
                  <a:pt x="11616696" y="680683"/>
                </a:cubicBezTo>
                <a:cubicBezTo>
                  <a:pt x="11614120" y="685489"/>
                  <a:pt x="11615640" y="689120"/>
                  <a:pt x="11618807" y="689120"/>
                </a:cubicBezTo>
                <a:cubicBezTo>
                  <a:pt x="11620564" y="689120"/>
                  <a:pt x="11634290" y="689120"/>
                  <a:pt x="11638395" y="689120"/>
                </a:cubicBezTo>
                <a:cubicBezTo>
                  <a:pt x="11642027" y="689120"/>
                  <a:pt x="11643082" y="687127"/>
                  <a:pt x="11644494" y="681620"/>
                </a:cubicBezTo>
                <a:cubicBezTo>
                  <a:pt x="11646250" y="674821"/>
                  <a:pt x="11646842" y="671535"/>
                  <a:pt x="11649181" y="665091"/>
                </a:cubicBezTo>
                <a:cubicBezTo>
                  <a:pt x="11650592" y="661105"/>
                  <a:pt x="11651174" y="660404"/>
                  <a:pt x="11666894" y="660523"/>
                </a:cubicBezTo>
                <a:cubicBezTo>
                  <a:pt x="11671818" y="660523"/>
                  <a:pt x="11671472" y="657947"/>
                  <a:pt x="11671472" y="653724"/>
                </a:cubicBezTo>
                <a:cubicBezTo>
                  <a:pt x="11671699" y="592967"/>
                  <a:pt x="11672055" y="529437"/>
                  <a:pt x="11667476" y="507639"/>
                </a:cubicBezTo>
                <a:cubicBezTo>
                  <a:pt x="11661141" y="477049"/>
                  <a:pt x="11634517" y="476111"/>
                  <a:pt x="11620564" y="477167"/>
                </a:cubicBezTo>
                <a:cubicBezTo>
                  <a:pt x="11606018" y="478223"/>
                  <a:pt x="11578576" y="482555"/>
                  <a:pt x="11550314" y="482555"/>
                </a:cubicBezTo>
                <a:cubicBezTo>
                  <a:pt x="11512194" y="482555"/>
                  <a:pt x="11469269" y="471769"/>
                  <a:pt x="11436438" y="456415"/>
                </a:cubicBezTo>
                <a:cubicBezTo>
                  <a:pt x="11430695" y="453839"/>
                  <a:pt x="11433626" y="452665"/>
                  <a:pt x="11436083" y="451254"/>
                </a:cubicBezTo>
                <a:cubicBezTo>
                  <a:pt x="11448398" y="444455"/>
                  <a:pt x="11459065" y="438357"/>
                  <a:pt x="11465637" y="427581"/>
                </a:cubicBezTo>
                <a:cubicBezTo>
                  <a:pt x="11470680" y="419381"/>
                  <a:pt x="11468805" y="416795"/>
                  <a:pt x="11463289" y="421255"/>
                </a:cubicBezTo>
                <a:cubicBezTo>
                  <a:pt x="11448398" y="433679"/>
                  <a:pt x="11427162" y="440597"/>
                  <a:pt x="11403479" y="432041"/>
                </a:cubicBezTo>
                <a:cubicBezTo>
                  <a:pt x="11379668" y="423604"/>
                  <a:pt x="11370521" y="400632"/>
                  <a:pt x="11368409" y="394888"/>
                </a:cubicBezTo>
                <a:cubicBezTo>
                  <a:pt x="11367353" y="392017"/>
                  <a:pt x="11366092" y="390435"/>
                  <a:pt x="11365096" y="390642"/>
                </a:cubicBezTo>
                <a:close/>
                <a:moveTo>
                  <a:pt x="11426797" y="336786"/>
                </a:moveTo>
                <a:cubicBezTo>
                  <a:pt x="11444500" y="336786"/>
                  <a:pt x="11458690" y="351193"/>
                  <a:pt x="11458690" y="368758"/>
                </a:cubicBezTo>
                <a:cubicBezTo>
                  <a:pt x="11458690" y="386441"/>
                  <a:pt x="11444500" y="400730"/>
                  <a:pt x="11426797" y="400730"/>
                </a:cubicBezTo>
                <a:cubicBezTo>
                  <a:pt x="11409094" y="400730"/>
                  <a:pt x="11394667" y="386441"/>
                  <a:pt x="11394667" y="368758"/>
                </a:cubicBezTo>
                <a:cubicBezTo>
                  <a:pt x="11394667" y="350966"/>
                  <a:pt x="11409094" y="336786"/>
                  <a:pt x="11426797" y="336786"/>
                </a:cubicBezTo>
                <a:close/>
                <a:moveTo>
                  <a:pt x="11425396" y="325428"/>
                </a:moveTo>
                <a:cubicBezTo>
                  <a:pt x="11398664" y="325428"/>
                  <a:pt x="11377201" y="347216"/>
                  <a:pt x="11377201" y="373801"/>
                </a:cubicBezTo>
                <a:cubicBezTo>
                  <a:pt x="11377201" y="400622"/>
                  <a:pt x="11398891" y="422173"/>
                  <a:pt x="11425396" y="422173"/>
                </a:cubicBezTo>
                <a:cubicBezTo>
                  <a:pt x="11452128" y="422173"/>
                  <a:pt x="11473591" y="400385"/>
                  <a:pt x="11473591" y="373801"/>
                </a:cubicBezTo>
                <a:cubicBezTo>
                  <a:pt x="11473591" y="346980"/>
                  <a:pt x="11452128" y="325428"/>
                  <a:pt x="11425396" y="32542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bg1"/>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J. 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61CA8-EE0A-C57E-1585-96BCBB66416D}"/>
              </a:ext>
            </a:extLst>
          </p:cNvPr>
          <p:cNvSpPr/>
          <p:nvPr userDrawn="1"/>
        </p:nvSpPr>
        <p:spPr>
          <a:xfrm>
            <a:off x="323850" y="323850"/>
            <a:ext cx="7054850" cy="6208713"/>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tx2"/>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tx2"/>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6" name="Graphic 5">
            <a:extLst>
              <a:ext uri="{FF2B5EF4-FFF2-40B4-BE49-F238E27FC236}">
                <a16:creationId xmlns:a16="http://schemas.microsoft.com/office/drawing/2014/main" id="{B9C0A83C-ECC3-2621-71D0-29A9C233199F}"/>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11" name="Logo Apis Bull">
            <a:extLst>
              <a:ext uri="{FF2B5EF4-FFF2-40B4-BE49-F238E27FC236}">
                <a16:creationId xmlns:a16="http://schemas.microsoft.com/office/drawing/2014/main" id="{BFD5E151-E1EE-08DA-AD6F-1A23680ED05C}"/>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062332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 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61CA8-EE0A-C57E-1585-96BCBB66416D}"/>
              </a:ext>
            </a:extLst>
          </p:cNvPr>
          <p:cNvSpPr/>
          <p:nvPr userDrawn="1"/>
        </p:nvSpPr>
        <p:spPr>
          <a:xfrm flipH="1">
            <a:off x="7378700" y="323850"/>
            <a:ext cx="4489450" cy="6208713"/>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tx2"/>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tx2"/>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12" name="Graphic 11">
            <a:extLst>
              <a:ext uri="{FF2B5EF4-FFF2-40B4-BE49-F238E27FC236}">
                <a16:creationId xmlns:a16="http://schemas.microsoft.com/office/drawing/2014/main" id="{C8451AB0-7DBF-E8EF-E716-813795D8D608}"/>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6" name="Logo Apis Bull">
            <a:extLst>
              <a:ext uri="{FF2B5EF4-FFF2-40B4-BE49-F238E27FC236}">
                <a16:creationId xmlns:a16="http://schemas.microsoft.com/office/drawing/2014/main" id="{34419667-1C72-3469-4B38-A6F5FFB023E5}"/>
              </a:ext>
            </a:extLst>
          </p:cNvPr>
          <p:cNvSpPr>
            <a:spLocks noChangeAspect="1"/>
          </p:cNvSpPr>
          <p:nvPr userDrawn="1"/>
        </p:nvSpPr>
        <p:spPr>
          <a:xfrm>
            <a:off x="10902964" y="647700"/>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1676014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 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61CA8-EE0A-C57E-1585-96BCBB66416D}"/>
              </a:ext>
            </a:extLst>
          </p:cNvPr>
          <p:cNvSpPr/>
          <p:nvPr userDrawn="1"/>
        </p:nvSpPr>
        <p:spPr>
          <a:xfrm flipH="1">
            <a:off x="7378700" y="323850"/>
            <a:ext cx="4489450" cy="6208713"/>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tx2"/>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tx2"/>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12" name="Graphic 11">
            <a:extLst>
              <a:ext uri="{FF2B5EF4-FFF2-40B4-BE49-F238E27FC236}">
                <a16:creationId xmlns:a16="http://schemas.microsoft.com/office/drawing/2014/main" id="{C8451AB0-7DBF-E8EF-E716-813795D8D608}"/>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6" name="Logo Apis Bull">
            <a:extLst>
              <a:ext uri="{FF2B5EF4-FFF2-40B4-BE49-F238E27FC236}">
                <a16:creationId xmlns:a16="http://schemas.microsoft.com/office/drawing/2014/main" id="{DF7CC670-205C-5993-F411-BA8D900312BB}"/>
              </a:ext>
            </a:extLst>
          </p:cNvPr>
          <p:cNvSpPr>
            <a:spLocks noChangeAspect="1"/>
          </p:cNvSpPr>
          <p:nvPr userDrawn="1"/>
        </p:nvSpPr>
        <p:spPr>
          <a:xfrm>
            <a:off x="10902964" y="647700"/>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594825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3" name="Logo Apis Bull">
            <a:extLst>
              <a:ext uri="{FF2B5EF4-FFF2-40B4-BE49-F238E27FC236}">
                <a16:creationId xmlns:a16="http://schemas.microsoft.com/office/drawing/2014/main" id="{17B449A8-9E62-8A25-AA7F-5F57138B0DBD}"/>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1983175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a:t>01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3" name="Logo Apis Bull">
            <a:extLst>
              <a:ext uri="{FF2B5EF4-FFF2-40B4-BE49-F238E27FC236}">
                <a16:creationId xmlns:a16="http://schemas.microsoft.com/office/drawing/2014/main" id="{3B263967-832B-EF54-75F7-3C148BB3EA7F}"/>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098007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2AD94F7-3470-4EDF-8360-C604BB358116}" type="datetime3">
              <a:rPr lang="en-GB" smtClean="0"/>
              <a:t>15 June, 2026</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11082" t="20310" r="8216" b="23549"/>
          <a:stretch/>
        </p:blipFill>
        <p:spPr>
          <a:xfrm>
            <a:off x="190500" y="2105535"/>
            <a:ext cx="10292105" cy="2989020"/>
          </a:xfrm>
          <a:prstGeom prst="rect">
            <a:avLst/>
          </a:prstGeom>
        </p:spPr>
      </p:pic>
      <p:sp>
        <p:nvSpPr>
          <p:cNvPr id="3" name="Logo Apis Bull">
            <a:extLst>
              <a:ext uri="{FF2B5EF4-FFF2-40B4-BE49-F238E27FC236}">
                <a16:creationId xmlns:a16="http://schemas.microsoft.com/office/drawing/2014/main" id="{4D06FAA0-C417-DBA2-9939-FE8C4DD3B6F9}"/>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1771201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noProof="0"/>
              <a:t>Agenda point</a:t>
            </a:r>
          </a:p>
          <a:p>
            <a:pPr lvl="1"/>
            <a:r>
              <a:rPr lang="en-GB" noProof="0"/>
              <a:t>Second level</a:t>
            </a:r>
          </a:p>
          <a:p>
            <a:pPr lvl="2"/>
            <a:r>
              <a:rPr lang="en-GB" noProof="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a:t>Fourth level</a:t>
            </a:r>
          </a:p>
          <a:p>
            <a:pPr lvl="4"/>
            <a:r>
              <a:rPr lang="en-GB" noProof="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a:t>6</a:t>
            </a:r>
          </a:p>
          <a:p>
            <a:pPr lvl="6"/>
            <a:r>
              <a:rPr lang="en-GB" noProof="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a:t>8</a:t>
            </a:r>
          </a:p>
          <a:p>
            <a:pPr lvl="8"/>
            <a:r>
              <a:rPr lang="en-GB" noProof="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a:t>09.00-09.30</a:t>
            </a:r>
          </a:p>
          <a:p>
            <a:pPr lvl="1"/>
            <a:r>
              <a:rPr lang="en-GB"/>
              <a:t>Second level</a:t>
            </a:r>
          </a:p>
          <a:p>
            <a:pPr lvl="2"/>
            <a:r>
              <a:rPr lang="en-GB"/>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a:t>Fourth level</a:t>
            </a:r>
          </a:p>
          <a:p>
            <a:pPr lvl="4"/>
            <a:r>
              <a:rPr lang="en-GB"/>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a:t>6</a:t>
            </a:r>
          </a:p>
          <a:p>
            <a:pPr lvl="6"/>
            <a:r>
              <a:rPr lang="en-GB"/>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a:t>8</a:t>
            </a:r>
          </a:p>
          <a:p>
            <a:pPr lvl="8"/>
            <a:r>
              <a:rPr lang="en-GB"/>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a:p>
        </p:txBody>
      </p:sp>
      <p:sp>
        <p:nvSpPr>
          <p:cNvPr id="2" name="Logo Apis Bull">
            <a:extLst>
              <a:ext uri="{FF2B5EF4-FFF2-40B4-BE49-F238E27FC236}">
                <a16:creationId xmlns:a16="http://schemas.microsoft.com/office/drawing/2014/main" id="{3ADCFB66-DCE2-A012-EC11-E750C9D0F0D6}"/>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684084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0">
                <a:solidFill>
                  <a:schemeClr val="bg1"/>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6" name="Logo Apis Bull">
            <a:extLst>
              <a:ext uri="{FF2B5EF4-FFF2-40B4-BE49-F238E27FC236}">
                <a16:creationId xmlns:a16="http://schemas.microsoft.com/office/drawing/2014/main" id="{F5B694F1-A8A6-A411-B8B4-20E9000DF8E7}"/>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1971382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0">
                <a:solidFill>
                  <a:schemeClr val="tx2"/>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6" name="Logo Apis Bull">
            <a:extLst>
              <a:ext uri="{FF2B5EF4-FFF2-40B4-BE49-F238E27FC236}">
                <a16:creationId xmlns:a16="http://schemas.microsoft.com/office/drawing/2014/main" id="{08168691-CE91-2D0A-56DA-A65F38A8D614}"/>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8787337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endParaRPr lang="en-GB"/>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48920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6406851" cy="3104850"/>
          </a:xfrm>
        </p:spPr>
        <p:txBody>
          <a:bodyPr bIns="144000" anchor="b"/>
          <a:lstStyle>
            <a:lvl1pPr algn="l">
              <a:lnSpc>
                <a:spcPct val="100000"/>
              </a:lnSpc>
              <a:defRPr sz="4400">
                <a:solidFill>
                  <a:schemeClr val="bg1"/>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GB"/>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bg1"/>
                </a:solidFill>
                <a:latin typeface="+mj-lt"/>
              </a:defRPr>
            </a:lvl1pPr>
          </a:lstStyle>
          <a:p>
            <a:pPr lvl="0"/>
            <a:r>
              <a:rPr lang="en-GB"/>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4" name="Graphic 3">
            <a:extLst>
              <a:ext uri="{FF2B5EF4-FFF2-40B4-BE49-F238E27FC236}">
                <a16:creationId xmlns:a16="http://schemas.microsoft.com/office/drawing/2014/main" id="{1922A9F4-1E2A-B176-72FC-DD732AFEFEE6}"/>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3" name="Logo Apis Bull">
            <a:extLst>
              <a:ext uri="{FF2B5EF4-FFF2-40B4-BE49-F238E27FC236}">
                <a16:creationId xmlns:a16="http://schemas.microsoft.com/office/drawing/2014/main" id="{60A9B96F-F743-9035-5A1E-7EA449333F7C}"/>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563866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endParaRPr lang="en-GB"/>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GB"/>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GB"/>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6631720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 Text">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3834328" y="323850"/>
            <a:ext cx="8020800" cy="6208713"/>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7999"/>
            <a:ext cx="2863191" cy="5560713"/>
          </a:xfrm>
        </p:spPr>
        <p:txBody>
          <a:bodyPr bIns="144000" anchor="ctr"/>
          <a:lstStyle>
            <a:lvl1pPr algn="l">
              <a:lnSpc>
                <a:spcPct val="100000"/>
              </a:lnSpc>
              <a:defRPr sz="1800" i="1">
                <a:solidFill>
                  <a:schemeClr val="tx2"/>
                </a:solidFill>
              </a:defRPr>
            </a:lvl1pPr>
          </a:lstStyle>
          <a:p>
            <a:r>
              <a:rPr lang="en-GB"/>
              <a:t>Click to add text</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6208713"/>
            <a:ext cx="2863191" cy="323850"/>
          </a:xfrm>
        </p:spPr>
        <p:txBody>
          <a:bodyPr anchor="b"/>
          <a:lstStyle>
            <a:lvl1pPr marL="0" indent="0">
              <a:buNone/>
              <a:defRPr sz="900" b="1">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4154582" y="5680551"/>
            <a:ext cx="1920000" cy="154800"/>
          </a:xfrm>
        </p:spPr>
        <p:txBody>
          <a:bodyPr anchor="b"/>
          <a:lstStyle>
            <a:lvl1pPr marL="0" indent="0">
              <a:buNone/>
              <a:defRPr sz="900" b="1">
                <a:solidFill>
                  <a:schemeClr val="bg1"/>
                </a:solidFill>
              </a:defRPr>
            </a:lvl1pPr>
          </a:lstStyle>
          <a:p>
            <a:pPr lvl="0"/>
            <a:r>
              <a:rPr lang="en-GB"/>
              <a:t>Insert name</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1" name="Text Placeholder 9">
            <a:extLst>
              <a:ext uri="{FF2B5EF4-FFF2-40B4-BE49-F238E27FC236}">
                <a16:creationId xmlns:a16="http://schemas.microsoft.com/office/drawing/2014/main" id="{66629110-BA91-0D55-F49F-215ADA50CF3C}"/>
              </a:ext>
            </a:extLst>
          </p:cNvPr>
          <p:cNvSpPr>
            <a:spLocks noGrp="1"/>
          </p:cNvSpPr>
          <p:nvPr>
            <p:ph type="body" sz="quarter" idx="18" hasCustomPrompt="1"/>
          </p:nvPr>
        </p:nvSpPr>
        <p:spPr>
          <a:xfrm>
            <a:off x="4154582" y="5875019"/>
            <a:ext cx="1920000" cy="333393"/>
          </a:xfrm>
        </p:spPr>
        <p:txBody>
          <a:bodyPr anchor="t"/>
          <a:lstStyle>
            <a:lvl1pPr marL="0" indent="0">
              <a:buNone/>
              <a:defRPr sz="900" b="0">
                <a:solidFill>
                  <a:schemeClr val="bg1"/>
                </a:solidFill>
                <a:latin typeface="Apis For Office Light" panose="020B0604020202020204" charset="0"/>
                <a:ea typeface="Apis For Office Light" panose="020B0604020202020204" charset="0"/>
                <a:cs typeface="Apis For Office Light" panose="020B0604020202020204" charset="0"/>
              </a:defRPr>
            </a:lvl1pPr>
          </a:lstStyle>
          <a:p>
            <a:pPr lvl="0"/>
            <a:r>
              <a:rPr lang="en-GB"/>
              <a:t>Insert title</a:t>
            </a:r>
          </a:p>
        </p:txBody>
      </p:sp>
      <p:sp>
        <p:nvSpPr>
          <p:cNvPr id="14" name="Date Placeholder 13">
            <a:extLst>
              <a:ext uri="{FF2B5EF4-FFF2-40B4-BE49-F238E27FC236}">
                <a16:creationId xmlns:a16="http://schemas.microsoft.com/office/drawing/2014/main" id="{C3F962A7-938A-9D70-81BA-2133DED9B95B}"/>
              </a:ext>
            </a:extLst>
          </p:cNvPr>
          <p:cNvSpPr>
            <a:spLocks noGrp="1"/>
          </p:cNvSpPr>
          <p:nvPr>
            <p:ph type="dt" sz="half" idx="19"/>
          </p:nvPr>
        </p:nvSpPr>
        <p:spPr/>
        <p:txBody>
          <a:bodyPr/>
          <a:lstStyle/>
          <a:p>
            <a:endParaRPr lang="en-GB"/>
          </a:p>
        </p:txBody>
      </p:sp>
      <p:sp>
        <p:nvSpPr>
          <p:cNvPr id="15" name="Footer Placeholder 14">
            <a:extLst>
              <a:ext uri="{FF2B5EF4-FFF2-40B4-BE49-F238E27FC236}">
                <a16:creationId xmlns:a16="http://schemas.microsoft.com/office/drawing/2014/main" id="{CA884452-3468-7964-F081-910610D55904}"/>
              </a:ext>
            </a:extLst>
          </p:cNvPr>
          <p:cNvSpPr>
            <a:spLocks noGrp="1"/>
          </p:cNvSpPr>
          <p:nvPr>
            <p:ph type="ftr" sz="quarter" idx="20"/>
          </p:nvPr>
        </p:nvSpPr>
        <p:spPr/>
        <p:txBody>
          <a:bodyPr/>
          <a:lstStyle/>
          <a:p>
            <a:endParaRPr lang="en-GB"/>
          </a:p>
        </p:txBody>
      </p:sp>
      <p:sp>
        <p:nvSpPr>
          <p:cNvPr id="17" name="Slide Number Placeholder 16">
            <a:extLst>
              <a:ext uri="{FF2B5EF4-FFF2-40B4-BE49-F238E27FC236}">
                <a16:creationId xmlns:a16="http://schemas.microsoft.com/office/drawing/2014/main" id="{51A03236-1C33-9F1B-8479-258D6D945336}"/>
              </a:ext>
            </a:extLst>
          </p:cNvPr>
          <p:cNvSpPr>
            <a:spLocks noGrp="1"/>
          </p:cNvSpPr>
          <p:nvPr>
            <p:ph type="sldNum" sz="quarter" idx="21"/>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15396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 Text">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5135562" y="323850"/>
            <a:ext cx="6719565" cy="6208713"/>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7999"/>
            <a:ext cx="4163713" cy="5560713"/>
          </a:xfrm>
        </p:spPr>
        <p:txBody>
          <a:bodyPr bIns="144000" anchor="ctr"/>
          <a:lstStyle>
            <a:lvl1pPr algn="l">
              <a:lnSpc>
                <a:spcPct val="100000"/>
              </a:lnSpc>
              <a:defRPr sz="1800" i="1">
                <a:solidFill>
                  <a:schemeClr val="tx2"/>
                </a:solidFill>
              </a:defRPr>
            </a:lvl1pPr>
          </a:lstStyle>
          <a:p>
            <a:r>
              <a:rPr lang="en-GB"/>
              <a:t>Click to add text</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6208713"/>
            <a:ext cx="4163713" cy="323850"/>
          </a:xfrm>
        </p:spPr>
        <p:txBody>
          <a:bodyPr anchor="b"/>
          <a:lstStyle>
            <a:lvl1pPr marL="0" indent="0">
              <a:buNone/>
              <a:defRPr sz="900" b="1">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5458700" y="5680551"/>
            <a:ext cx="1920000" cy="154800"/>
          </a:xfrm>
        </p:spPr>
        <p:txBody>
          <a:bodyPr anchor="b"/>
          <a:lstStyle>
            <a:lvl1pPr marL="0" indent="0">
              <a:buNone/>
              <a:defRPr sz="900" b="1">
                <a:solidFill>
                  <a:schemeClr val="bg1"/>
                </a:solidFill>
              </a:defRPr>
            </a:lvl1pPr>
          </a:lstStyle>
          <a:p>
            <a:pPr lvl="0"/>
            <a:r>
              <a:rPr lang="en-GB"/>
              <a:t>Insert name</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1" name="Text Placeholder 9">
            <a:extLst>
              <a:ext uri="{FF2B5EF4-FFF2-40B4-BE49-F238E27FC236}">
                <a16:creationId xmlns:a16="http://schemas.microsoft.com/office/drawing/2014/main" id="{66629110-BA91-0D55-F49F-215ADA50CF3C}"/>
              </a:ext>
            </a:extLst>
          </p:cNvPr>
          <p:cNvSpPr>
            <a:spLocks noGrp="1"/>
          </p:cNvSpPr>
          <p:nvPr>
            <p:ph type="body" sz="quarter" idx="18" hasCustomPrompt="1"/>
          </p:nvPr>
        </p:nvSpPr>
        <p:spPr>
          <a:xfrm>
            <a:off x="5458700" y="5875019"/>
            <a:ext cx="1920000" cy="333393"/>
          </a:xfrm>
        </p:spPr>
        <p:txBody>
          <a:bodyPr anchor="t"/>
          <a:lstStyle>
            <a:lvl1pPr marL="0" indent="0">
              <a:buNone/>
              <a:defRPr sz="900" b="0">
                <a:solidFill>
                  <a:schemeClr val="bg1"/>
                </a:solidFill>
                <a:latin typeface="Apis For Office Light" panose="020B0604020202020204" charset="0"/>
                <a:ea typeface="Apis For Office Light" panose="020B0604020202020204" charset="0"/>
                <a:cs typeface="Apis For Office Light" panose="020B0604020202020204" charset="0"/>
              </a:defRPr>
            </a:lvl1pPr>
          </a:lstStyle>
          <a:p>
            <a:pPr lvl="0"/>
            <a:r>
              <a:rPr lang="en-GB"/>
              <a:t>Insert title</a:t>
            </a:r>
          </a:p>
        </p:txBody>
      </p:sp>
      <p:sp>
        <p:nvSpPr>
          <p:cNvPr id="14" name="Date Placeholder 13">
            <a:extLst>
              <a:ext uri="{FF2B5EF4-FFF2-40B4-BE49-F238E27FC236}">
                <a16:creationId xmlns:a16="http://schemas.microsoft.com/office/drawing/2014/main" id="{C3F962A7-938A-9D70-81BA-2133DED9B95B}"/>
              </a:ext>
            </a:extLst>
          </p:cNvPr>
          <p:cNvSpPr>
            <a:spLocks noGrp="1"/>
          </p:cNvSpPr>
          <p:nvPr>
            <p:ph type="dt" sz="half" idx="19"/>
          </p:nvPr>
        </p:nvSpPr>
        <p:spPr/>
        <p:txBody>
          <a:bodyPr/>
          <a:lstStyle/>
          <a:p>
            <a:endParaRPr lang="en-GB"/>
          </a:p>
        </p:txBody>
      </p:sp>
      <p:sp>
        <p:nvSpPr>
          <p:cNvPr id="15" name="Footer Placeholder 14">
            <a:extLst>
              <a:ext uri="{FF2B5EF4-FFF2-40B4-BE49-F238E27FC236}">
                <a16:creationId xmlns:a16="http://schemas.microsoft.com/office/drawing/2014/main" id="{CA884452-3468-7964-F081-910610D55904}"/>
              </a:ext>
            </a:extLst>
          </p:cNvPr>
          <p:cNvSpPr>
            <a:spLocks noGrp="1"/>
          </p:cNvSpPr>
          <p:nvPr>
            <p:ph type="ftr" sz="quarter" idx="20"/>
          </p:nvPr>
        </p:nvSpPr>
        <p:spPr/>
        <p:txBody>
          <a:bodyPr/>
          <a:lstStyle/>
          <a:p>
            <a:endParaRPr lang="en-GB"/>
          </a:p>
        </p:txBody>
      </p:sp>
      <p:sp>
        <p:nvSpPr>
          <p:cNvPr id="17" name="Slide Number Placeholder 16">
            <a:extLst>
              <a:ext uri="{FF2B5EF4-FFF2-40B4-BE49-F238E27FC236}">
                <a16:creationId xmlns:a16="http://schemas.microsoft.com/office/drawing/2014/main" id="{51A03236-1C33-9F1B-8479-258D6D945336}"/>
              </a:ext>
            </a:extLst>
          </p:cNvPr>
          <p:cNvSpPr>
            <a:spLocks noGrp="1"/>
          </p:cNvSpPr>
          <p:nvPr>
            <p:ph type="sldNum" sz="quarter" idx="21"/>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51675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 Text">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6418700" y="323850"/>
            <a:ext cx="5446800" cy="6208713"/>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7999"/>
            <a:ext cx="5446800" cy="5560713"/>
          </a:xfrm>
        </p:spPr>
        <p:txBody>
          <a:bodyPr bIns="144000" anchor="ctr"/>
          <a:lstStyle>
            <a:lvl1pPr algn="l">
              <a:lnSpc>
                <a:spcPct val="100000"/>
              </a:lnSpc>
              <a:defRPr sz="1800" i="1">
                <a:solidFill>
                  <a:schemeClr val="tx2"/>
                </a:solidFill>
              </a:defRPr>
            </a:lvl1pPr>
          </a:lstStyle>
          <a:p>
            <a:r>
              <a:rPr lang="en-GB"/>
              <a:t>Click to add text</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6208713"/>
            <a:ext cx="5446800" cy="323850"/>
          </a:xfrm>
        </p:spPr>
        <p:txBody>
          <a:bodyPr anchor="b"/>
          <a:lstStyle>
            <a:lvl1pPr marL="0" indent="0">
              <a:buNone/>
              <a:defRPr sz="900" b="1">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742412" y="5680551"/>
            <a:ext cx="1920000" cy="154800"/>
          </a:xfrm>
        </p:spPr>
        <p:txBody>
          <a:bodyPr anchor="b"/>
          <a:lstStyle>
            <a:lvl1pPr marL="0" indent="0">
              <a:buNone/>
              <a:defRPr sz="900" b="1">
                <a:solidFill>
                  <a:schemeClr val="bg1"/>
                </a:solidFill>
              </a:defRPr>
            </a:lvl1pPr>
          </a:lstStyle>
          <a:p>
            <a:pPr lvl="0"/>
            <a:r>
              <a:rPr lang="en-GB"/>
              <a:t>Insert name</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1" name="Text Placeholder 9">
            <a:extLst>
              <a:ext uri="{FF2B5EF4-FFF2-40B4-BE49-F238E27FC236}">
                <a16:creationId xmlns:a16="http://schemas.microsoft.com/office/drawing/2014/main" id="{66629110-BA91-0D55-F49F-215ADA50CF3C}"/>
              </a:ext>
            </a:extLst>
          </p:cNvPr>
          <p:cNvSpPr>
            <a:spLocks noGrp="1"/>
          </p:cNvSpPr>
          <p:nvPr>
            <p:ph type="body" sz="quarter" idx="18" hasCustomPrompt="1"/>
          </p:nvPr>
        </p:nvSpPr>
        <p:spPr>
          <a:xfrm>
            <a:off x="6742412" y="5875019"/>
            <a:ext cx="1920000" cy="333393"/>
          </a:xfrm>
        </p:spPr>
        <p:txBody>
          <a:bodyPr anchor="t"/>
          <a:lstStyle>
            <a:lvl1pPr marL="0" indent="0">
              <a:buNone/>
              <a:defRPr sz="900" b="0">
                <a:solidFill>
                  <a:schemeClr val="bg1"/>
                </a:solidFill>
                <a:latin typeface="Apis For Office Light" panose="020B0604020202020204" charset="0"/>
                <a:ea typeface="Apis For Office Light" panose="020B0604020202020204" charset="0"/>
                <a:cs typeface="Apis For Office Light" panose="020B0604020202020204" charset="0"/>
              </a:defRPr>
            </a:lvl1pPr>
          </a:lstStyle>
          <a:p>
            <a:pPr lvl="0"/>
            <a:r>
              <a:rPr lang="en-GB"/>
              <a:t>Insert title</a:t>
            </a:r>
          </a:p>
        </p:txBody>
      </p:sp>
      <p:sp>
        <p:nvSpPr>
          <p:cNvPr id="14" name="Date Placeholder 13">
            <a:extLst>
              <a:ext uri="{FF2B5EF4-FFF2-40B4-BE49-F238E27FC236}">
                <a16:creationId xmlns:a16="http://schemas.microsoft.com/office/drawing/2014/main" id="{C3F962A7-938A-9D70-81BA-2133DED9B95B}"/>
              </a:ext>
            </a:extLst>
          </p:cNvPr>
          <p:cNvSpPr>
            <a:spLocks noGrp="1"/>
          </p:cNvSpPr>
          <p:nvPr>
            <p:ph type="dt" sz="half" idx="19"/>
          </p:nvPr>
        </p:nvSpPr>
        <p:spPr/>
        <p:txBody>
          <a:bodyPr/>
          <a:lstStyle/>
          <a:p>
            <a:endParaRPr lang="en-GB"/>
          </a:p>
        </p:txBody>
      </p:sp>
      <p:sp>
        <p:nvSpPr>
          <p:cNvPr id="15" name="Footer Placeholder 14">
            <a:extLst>
              <a:ext uri="{FF2B5EF4-FFF2-40B4-BE49-F238E27FC236}">
                <a16:creationId xmlns:a16="http://schemas.microsoft.com/office/drawing/2014/main" id="{CA884452-3468-7964-F081-910610D55904}"/>
              </a:ext>
            </a:extLst>
          </p:cNvPr>
          <p:cNvSpPr>
            <a:spLocks noGrp="1"/>
          </p:cNvSpPr>
          <p:nvPr>
            <p:ph type="ftr" sz="quarter" idx="20"/>
          </p:nvPr>
        </p:nvSpPr>
        <p:spPr/>
        <p:txBody>
          <a:bodyPr/>
          <a:lstStyle/>
          <a:p>
            <a:endParaRPr lang="en-GB"/>
          </a:p>
        </p:txBody>
      </p:sp>
      <p:sp>
        <p:nvSpPr>
          <p:cNvPr id="17" name="Slide Number Placeholder 16">
            <a:extLst>
              <a:ext uri="{FF2B5EF4-FFF2-40B4-BE49-F238E27FC236}">
                <a16:creationId xmlns:a16="http://schemas.microsoft.com/office/drawing/2014/main" id="{51A03236-1C33-9F1B-8479-258D6D945336}"/>
              </a:ext>
            </a:extLst>
          </p:cNvPr>
          <p:cNvSpPr>
            <a:spLocks noGrp="1"/>
          </p:cNvSpPr>
          <p:nvPr>
            <p:ph type="sldNum" sz="quarter" idx="21"/>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7559263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Text">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7389108" y="323850"/>
            <a:ext cx="4476392" cy="4574739"/>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7999"/>
            <a:ext cx="4173545" cy="5560713"/>
          </a:xfrm>
        </p:spPr>
        <p:txBody>
          <a:bodyPr bIns="144000" anchor="ctr"/>
          <a:lstStyle>
            <a:lvl1pPr algn="l">
              <a:lnSpc>
                <a:spcPct val="100000"/>
              </a:lnSpc>
              <a:defRPr sz="1800" i="1">
                <a:solidFill>
                  <a:schemeClr val="tx2"/>
                </a:solidFill>
              </a:defRPr>
            </a:lvl1pPr>
          </a:lstStyle>
          <a:p>
            <a:r>
              <a:rPr lang="en-GB"/>
              <a:t>Click to add text</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6208713"/>
            <a:ext cx="4173545" cy="323850"/>
          </a:xfrm>
        </p:spPr>
        <p:txBody>
          <a:bodyPr anchor="b"/>
          <a:lstStyle>
            <a:lvl1pPr marL="0" indent="0">
              <a:buNone/>
              <a:defRPr sz="900" b="1">
                <a:solidFill>
                  <a:schemeClr val="tx2"/>
                </a:solidFill>
                <a:latin typeface="+mj-lt"/>
              </a:defRPr>
            </a:lvl1pPr>
          </a:lstStyle>
          <a:p>
            <a:pPr lvl="0"/>
            <a:r>
              <a:rPr lang="en-GB"/>
              <a:t>Click to add subtitle</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4" name="Date Placeholder 13">
            <a:extLst>
              <a:ext uri="{FF2B5EF4-FFF2-40B4-BE49-F238E27FC236}">
                <a16:creationId xmlns:a16="http://schemas.microsoft.com/office/drawing/2014/main" id="{C3F962A7-938A-9D70-81BA-2133DED9B95B}"/>
              </a:ext>
            </a:extLst>
          </p:cNvPr>
          <p:cNvSpPr>
            <a:spLocks noGrp="1"/>
          </p:cNvSpPr>
          <p:nvPr>
            <p:ph type="dt" sz="half" idx="19"/>
          </p:nvPr>
        </p:nvSpPr>
        <p:spPr/>
        <p:txBody>
          <a:bodyPr/>
          <a:lstStyle/>
          <a:p>
            <a:endParaRPr lang="en-GB"/>
          </a:p>
        </p:txBody>
      </p:sp>
      <p:sp>
        <p:nvSpPr>
          <p:cNvPr id="15" name="Footer Placeholder 14">
            <a:extLst>
              <a:ext uri="{FF2B5EF4-FFF2-40B4-BE49-F238E27FC236}">
                <a16:creationId xmlns:a16="http://schemas.microsoft.com/office/drawing/2014/main" id="{CA884452-3468-7964-F081-910610D55904}"/>
              </a:ext>
            </a:extLst>
          </p:cNvPr>
          <p:cNvSpPr>
            <a:spLocks noGrp="1"/>
          </p:cNvSpPr>
          <p:nvPr>
            <p:ph type="ftr" sz="quarter" idx="20"/>
          </p:nvPr>
        </p:nvSpPr>
        <p:spPr/>
        <p:txBody>
          <a:bodyPr/>
          <a:lstStyle/>
          <a:p>
            <a:endParaRPr lang="en-GB"/>
          </a:p>
        </p:txBody>
      </p:sp>
      <p:sp>
        <p:nvSpPr>
          <p:cNvPr id="17" name="Slide Number Placeholder 16">
            <a:extLst>
              <a:ext uri="{FF2B5EF4-FFF2-40B4-BE49-F238E27FC236}">
                <a16:creationId xmlns:a16="http://schemas.microsoft.com/office/drawing/2014/main" id="{51A03236-1C33-9F1B-8479-258D6D945336}"/>
              </a:ext>
            </a:extLst>
          </p:cNvPr>
          <p:cNvSpPr>
            <a:spLocks noGrp="1"/>
          </p:cNvSpPr>
          <p:nvPr>
            <p:ph type="sldNum" sz="quarter" idx="21"/>
          </p:nvPr>
        </p:nvSpPr>
        <p:spPr/>
        <p:txBody>
          <a:bodyPr/>
          <a:lstStyle/>
          <a:p>
            <a:fld id="{23AA811B-2EBD-4900-905E-5BE206449611}" type="slidenum">
              <a:rPr lang="en-GB" smtClean="0"/>
              <a:pPr/>
              <a:t>‹#›</a:t>
            </a:fld>
            <a:endParaRPr lang="en-GB"/>
          </a:p>
        </p:txBody>
      </p:sp>
      <p:sp>
        <p:nvSpPr>
          <p:cNvPr id="9" name="Picture Placeholder 8">
            <a:extLst>
              <a:ext uri="{FF2B5EF4-FFF2-40B4-BE49-F238E27FC236}">
                <a16:creationId xmlns:a16="http://schemas.microsoft.com/office/drawing/2014/main" id="{DF71166F-C668-F199-13A9-0FBA44961B8B}"/>
              </a:ext>
            </a:extLst>
          </p:cNvPr>
          <p:cNvSpPr>
            <a:spLocks noGrp="1"/>
          </p:cNvSpPr>
          <p:nvPr>
            <p:ph type="pic" sz="quarter" idx="22" hasCustomPrompt="1"/>
          </p:nvPr>
        </p:nvSpPr>
        <p:spPr>
          <a:xfrm>
            <a:off x="7383463" y="5224463"/>
            <a:ext cx="4484687" cy="1308100"/>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
        <p:nvSpPr>
          <p:cNvPr id="16" name="Picture Placeholder 15">
            <a:extLst>
              <a:ext uri="{FF2B5EF4-FFF2-40B4-BE49-F238E27FC236}">
                <a16:creationId xmlns:a16="http://schemas.microsoft.com/office/drawing/2014/main" id="{520493D8-DB24-2006-3BE8-79C950385CBB}"/>
              </a:ext>
            </a:extLst>
          </p:cNvPr>
          <p:cNvSpPr>
            <a:spLocks noGrp="1"/>
          </p:cNvSpPr>
          <p:nvPr>
            <p:ph type="pic" sz="quarter" idx="23" hasCustomPrompt="1"/>
          </p:nvPr>
        </p:nvSpPr>
        <p:spPr>
          <a:xfrm>
            <a:off x="5146675" y="320675"/>
            <a:ext cx="1903413" cy="2943944"/>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
        <p:nvSpPr>
          <p:cNvPr id="19" name="Picture Placeholder 18">
            <a:extLst>
              <a:ext uri="{FF2B5EF4-FFF2-40B4-BE49-F238E27FC236}">
                <a16:creationId xmlns:a16="http://schemas.microsoft.com/office/drawing/2014/main" id="{26DD6F58-DD26-2CC1-4F9C-A991B2EF2731}"/>
              </a:ext>
            </a:extLst>
          </p:cNvPr>
          <p:cNvSpPr>
            <a:spLocks noGrp="1"/>
          </p:cNvSpPr>
          <p:nvPr>
            <p:ph type="pic" sz="quarter" idx="24" hasCustomPrompt="1"/>
          </p:nvPr>
        </p:nvSpPr>
        <p:spPr>
          <a:xfrm>
            <a:off x="5122863" y="3588619"/>
            <a:ext cx="1935162" cy="2943944"/>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Tree>
    <p:extLst>
      <p:ext uri="{BB962C8B-B14F-4D97-AF65-F5344CB8AC3E}">
        <p14:creationId xmlns:p14="http://schemas.microsoft.com/office/powerpoint/2010/main" val="589618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 Text">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7389108" y="323850"/>
            <a:ext cx="4476392" cy="4574739"/>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7999"/>
            <a:ext cx="4173545" cy="5560713"/>
          </a:xfrm>
        </p:spPr>
        <p:txBody>
          <a:bodyPr bIns="144000" anchor="ctr"/>
          <a:lstStyle>
            <a:lvl1pPr algn="l">
              <a:lnSpc>
                <a:spcPct val="100000"/>
              </a:lnSpc>
              <a:defRPr sz="1800" i="1">
                <a:solidFill>
                  <a:schemeClr val="tx2"/>
                </a:solidFill>
              </a:defRPr>
            </a:lvl1pPr>
          </a:lstStyle>
          <a:p>
            <a:r>
              <a:rPr lang="en-GB"/>
              <a:t>Click to add text</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6208713"/>
            <a:ext cx="4173545" cy="323850"/>
          </a:xfrm>
        </p:spPr>
        <p:txBody>
          <a:bodyPr anchor="b"/>
          <a:lstStyle>
            <a:lvl1pPr marL="0" indent="0">
              <a:buNone/>
              <a:defRPr sz="900" b="1">
                <a:solidFill>
                  <a:schemeClr val="tx2"/>
                </a:solidFill>
                <a:latin typeface="+mj-lt"/>
              </a:defRPr>
            </a:lvl1pPr>
          </a:lstStyle>
          <a:p>
            <a:pPr lvl="0"/>
            <a:r>
              <a:rPr lang="en-GB"/>
              <a:t>Click to add subtitle</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4" name="Date Placeholder 13">
            <a:extLst>
              <a:ext uri="{FF2B5EF4-FFF2-40B4-BE49-F238E27FC236}">
                <a16:creationId xmlns:a16="http://schemas.microsoft.com/office/drawing/2014/main" id="{C3F962A7-938A-9D70-81BA-2133DED9B95B}"/>
              </a:ext>
            </a:extLst>
          </p:cNvPr>
          <p:cNvSpPr>
            <a:spLocks noGrp="1"/>
          </p:cNvSpPr>
          <p:nvPr>
            <p:ph type="dt" sz="half" idx="19"/>
          </p:nvPr>
        </p:nvSpPr>
        <p:spPr/>
        <p:txBody>
          <a:bodyPr/>
          <a:lstStyle/>
          <a:p>
            <a:endParaRPr lang="en-GB"/>
          </a:p>
        </p:txBody>
      </p:sp>
      <p:sp>
        <p:nvSpPr>
          <p:cNvPr id="15" name="Footer Placeholder 14">
            <a:extLst>
              <a:ext uri="{FF2B5EF4-FFF2-40B4-BE49-F238E27FC236}">
                <a16:creationId xmlns:a16="http://schemas.microsoft.com/office/drawing/2014/main" id="{CA884452-3468-7964-F081-910610D55904}"/>
              </a:ext>
            </a:extLst>
          </p:cNvPr>
          <p:cNvSpPr>
            <a:spLocks noGrp="1"/>
          </p:cNvSpPr>
          <p:nvPr>
            <p:ph type="ftr" sz="quarter" idx="20"/>
          </p:nvPr>
        </p:nvSpPr>
        <p:spPr/>
        <p:txBody>
          <a:bodyPr/>
          <a:lstStyle/>
          <a:p>
            <a:endParaRPr lang="en-GB"/>
          </a:p>
        </p:txBody>
      </p:sp>
      <p:sp>
        <p:nvSpPr>
          <p:cNvPr id="17" name="Slide Number Placeholder 16">
            <a:extLst>
              <a:ext uri="{FF2B5EF4-FFF2-40B4-BE49-F238E27FC236}">
                <a16:creationId xmlns:a16="http://schemas.microsoft.com/office/drawing/2014/main" id="{51A03236-1C33-9F1B-8479-258D6D945336}"/>
              </a:ext>
            </a:extLst>
          </p:cNvPr>
          <p:cNvSpPr>
            <a:spLocks noGrp="1"/>
          </p:cNvSpPr>
          <p:nvPr>
            <p:ph type="sldNum" sz="quarter" idx="21"/>
          </p:nvPr>
        </p:nvSpPr>
        <p:spPr/>
        <p:txBody>
          <a:bodyPr/>
          <a:lstStyle/>
          <a:p>
            <a:fld id="{23AA811B-2EBD-4900-905E-5BE206449611}" type="slidenum">
              <a:rPr lang="en-GB" smtClean="0"/>
              <a:pPr/>
              <a:t>‹#›</a:t>
            </a:fld>
            <a:endParaRPr lang="en-GB"/>
          </a:p>
        </p:txBody>
      </p:sp>
      <p:sp>
        <p:nvSpPr>
          <p:cNvPr id="9" name="Picture Placeholder 8">
            <a:extLst>
              <a:ext uri="{FF2B5EF4-FFF2-40B4-BE49-F238E27FC236}">
                <a16:creationId xmlns:a16="http://schemas.microsoft.com/office/drawing/2014/main" id="{DF71166F-C668-F199-13A9-0FBA44961B8B}"/>
              </a:ext>
            </a:extLst>
          </p:cNvPr>
          <p:cNvSpPr>
            <a:spLocks noGrp="1"/>
          </p:cNvSpPr>
          <p:nvPr>
            <p:ph type="pic" sz="quarter" idx="22" hasCustomPrompt="1"/>
          </p:nvPr>
        </p:nvSpPr>
        <p:spPr>
          <a:xfrm>
            <a:off x="7383463" y="5224463"/>
            <a:ext cx="4484687" cy="1308100"/>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
        <p:nvSpPr>
          <p:cNvPr id="16" name="Picture Placeholder 15">
            <a:extLst>
              <a:ext uri="{FF2B5EF4-FFF2-40B4-BE49-F238E27FC236}">
                <a16:creationId xmlns:a16="http://schemas.microsoft.com/office/drawing/2014/main" id="{520493D8-DB24-2006-3BE8-79C950385CBB}"/>
              </a:ext>
            </a:extLst>
          </p:cNvPr>
          <p:cNvSpPr>
            <a:spLocks noGrp="1"/>
          </p:cNvSpPr>
          <p:nvPr>
            <p:ph type="pic" sz="quarter" idx="23" hasCustomPrompt="1"/>
          </p:nvPr>
        </p:nvSpPr>
        <p:spPr>
          <a:xfrm>
            <a:off x="5146675" y="320675"/>
            <a:ext cx="1903413" cy="1306800"/>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
        <p:nvSpPr>
          <p:cNvPr id="19" name="Picture Placeholder 18">
            <a:extLst>
              <a:ext uri="{FF2B5EF4-FFF2-40B4-BE49-F238E27FC236}">
                <a16:creationId xmlns:a16="http://schemas.microsoft.com/office/drawing/2014/main" id="{26DD6F58-DD26-2CC1-4F9C-A991B2EF2731}"/>
              </a:ext>
            </a:extLst>
          </p:cNvPr>
          <p:cNvSpPr>
            <a:spLocks noGrp="1"/>
          </p:cNvSpPr>
          <p:nvPr>
            <p:ph type="pic" sz="quarter" idx="24" hasCustomPrompt="1"/>
          </p:nvPr>
        </p:nvSpPr>
        <p:spPr>
          <a:xfrm>
            <a:off x="5122863" y="3588619"/>
            <a:ext cx="1935162" cy="2943944"/>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
        <p:nvSpPr>
          <p:cNvPr id="3" name="Picture Placeholder 15">
            <a:extLst>
              <a:ext uri="{FF2B5EF4-FFF2-40B4-BE49-F238E27FC236}">
                <a16:creationId xmlns:a16="http://schemas.microsoft.com/office/drawing/2014/main" id="{464DC4CC-CF26-DAE8-CD08-E16920288A4C}"/>
              </a:ext>
            </a:extLst>
          </p:cNvPr>
          <p:cNvSpPr>
            <a:spLocks noGrp="1"/>
          </p:cNvSpPr>
          <p:nvPr>
            <p:ph type="pic" sz="quarter" idx="25" hasCustomPrompt="1"/>
          </p:nvPr>
        </p:nvSpPr>
        <p:spPr>
          <a:xfrm>
            <a:off x="5146675" y="1954800"/>
            <a:ext cx="1903413" cy="1306800"/>
          </a:xfrm>
          <a:solidFill>
            <a:srgbClr val="D4D7DC"/>
          </a:solidFill>
          <a:effectLst/>
        </p:spPr>
        <p:txBody>
          <a:bodyPr vert="horz" wrap="square" tIns="72000" anchor="t">
            <a:noAutofit/>
          </a:bodyPr>
          <a:lstStyle>
            <a:lvl1pPr marL="0" indent="0" algn="ctr">
              <a:buNone/>
              <a:defRPr sz="1400" b="0" i="0" u="none" strike="noStrike">
                <a:solidFill>
                  <a:schemeClr val="bg1">
                    <a:lumMod val="100000"/>
                  </a:schemeClr>
                </a:solidFill>
                <a:latin typeface="Apis For Office" panose="020B0604020202020204" charset="0"/>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a:t>Click here and insert picture via Templafy</a:t>
            </a:r>
          </a:p>
          <a:p>
            <a:endParaRPr lang="en-GB"/>
          </a:p>
        </p:txBody>
      </p:sp>
    </p:spTree>
    <p:extLst>
      <p:ext uri="{BB962C8B-B14F-4D97-AF65-F5344CB8AC3E}">
        <p14:creationId xmlns:p14="http://schemas.microsoft.com/office/powerpoint/2010/main" val="1634014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1327234"/>
            <a:ext cx="10896001" cy="324000"/>
          </a:xfrm>
        </p:spPr>
        <p:txBody>
          <a:bodyPr/>
          <a:lstStyle>
            <a:lvl1pPr marL="0" indent="0">
              <a:buNone/>
              <a:defRPr sz="1400" b="1" cap="all" baseline="0"/>
            </a:lvl1pPr>
          </a:lstStyle>
          <a:p>
            <a:pPr lvl="0"/>
            <a:r>
              <a:rPr lang="en-GB"/>
              <a:t>Click to add trumpet</a:t>
            </a:r>
          </a:p>
        </p:txBody>
      </p:sp>
      <p:sp>
        <p:nvSpPr>
          <p:cNvPr id="4" name="Title 1">
            <a:extLst>
              <a:ext uri="{FF2B5EF4-FFF2-40B4-BE49-F238E27FC236}">
                <a16:creationId xmlns:a16="http://schemas.microsoft.com/office/drawing/2014/main" id="{D1C300B8-ABB6-BCEA-C620-D3B5CFF7F278}"/>
              </a:ext>
            </a:extLst>
          </p:cNvPr>
          <p:cNvSpPr>
            <a:spLocks noGrp="1"/>
          </p:cNvSpPr>
          <p:nvPr>
            <p:ph type="title" hasCustomPrompt="1"/>
          </p:nvPr>
        </p:nvSpPr>
        <p:spPr>
          <a:xfrm>
            <a:off x="648000" y="648000"/>
            <a:ext cx="10896000" cy="605664"/>
          </a:xfrm>
        </p:spPr>
        <p:txBody>
          <a:bodyPr/>
          <a:lstStyle/>
          <a:p>
            <a:r>
              <a:rPr lang="en-GB" noProof="0"/>
              <a:t>Click to add title</a:t>
            </a:r>
          </a:p>
        </p:txBody>
      </p:sp>
    </p:spTree>
    <p:extLst>
      <p:ext uri="{BB962C8B-B14F-4D97-AF65-F5344CB8AC3E}">
        <p14:creationId xmlns:p14="http://schemas.microsoft.com/office/powerpoint/2010/main" val="524550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7310111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7910165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53271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6406851" cy="3105000"/>
          </a:xfrm>
        </p:spPr>
        <p:txBody>
          <a:bodyPr bIns="144000" anchor="b"/>
          <a:lstStyle>
            <a:lvl1pPr algn="l">
              <a:lnSpc>
                <a:spcPct val="100000"/>
              </a:lnSpc>
              <a:defRPr sz="4400">
                <a:solidFill>
                  <a:schemeClr val="tx2"/>
                </a:solidFill>
              </a:defRPr>
            </a:lvl1pPr>
          </a:lstStyle>
          <a:p>
            <a:r>
              <a:rPr lang="en-GB"/>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GB"/>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tx2"/>
                </a:solidFill>
                <a:latin typeface="+mj-lt"/>
              </a:defRPr>
            </a:lvl1pPr>
          </a:lstStyle>
          <a:p>
            <a:pPr lvl="0"/>
            <a:r>
              <a:rPr lang="en-GB"/>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5" name="Graphic 4">
            <a:extLst>
              <a:ext uri="{FF2B5EF4-FFF2-40B4-BE49-F238E27FC236}">
                <a16:creationId xmlns:a16="http://schemas.microsoft.com/office/drawing/2014/main" id="{2CB6C964-93D2-F44D-3EEF-78C07E2286F6}"/>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3" name="Logo Apis Bull">
            <a:extLst>
              <a:ext uri="{FF2B5EF4-FFF2-40B4-BE49-F238E27FC236}">
                <a16:creationId xmlns:a16="http://schemas.microsoft.com/office/drawing/2014/main" id="{65F0DED9-6D19-EC66-A965-9FF5F213C6FD}"/>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8459273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5998940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a:t>Insert picture text</a:t>
            </a:r>
          </a:p>
        </p:txBody>
      </p:sp>
    </p:spTree>
    <p:extLst>
      <p:ext uri="{BB962C8B-B14F-4D97-AF65-F5344CB8AC3E}">
        <p14:creationId xmlns:p14="http://schemas.microsoft.com/office/powerpoint/2010/main" val="12701857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a:t>Insert picture text</a:t>
            </a:r>
          </a:p>
        </p:txBody>
      </p:sp>
    </p:spTree>
    <p:extLst>
      <p:ext uri="{BB962C8B-B14F-4D97-AF65-F5344CB8AC3E}">
        <p14:creationId xmlns:p14="http://schemas.microsoft.com/office/powerpoint/2010/main" val="3884612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a:t>Insert picture text</a:t>
            </a:r>
          </a:p>
        </p:txBody>
      </p:sp>
    </p:spTree>
    <p:extLst>
      <p:ext uri="{BB962C8B-B14F-4D97-AF65-F5344CB8AC3E}">
        <p14:creationId xmlns:p14="http://schemas.microsoft.com/office/powerpoint/2010/main" val="24664117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GB" noProof="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endParaRPr lang="en-GB"/>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880050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8039139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5626451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815960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Level 6</a:t>
            </a:r>
          </a:p>
          <a:p>
            <a:pPr lvl="6"/>
            <a:r>
              <a:rPr lang="en-GB" noProof="0"/>
              <a:t>Level 7</a:t>
            </a:r>
          </a:p>
          <a:p>
            <a:pPr lvl="7"/>
            <a:r>
              <a:rPr lang="en-GB" noProof="0"/>
              <a:t>Level 8</a:t>
            </a:r>
          </a:p>
          <a:p>
            <a:pPr lvl="8"/>
            <a:r>
              <a:rPr lang="en-GB" noProof="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861255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450888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E25697-443E-CE41-B1FC-08A4F8CD4326}"/>
              </a:ext>
            </a:extLst>
          </p:cNvPr>
          <p:cNvSpPr>
            <a:spLocks noGrp="1"/>
          </p:cNvSpPr>
          <p:nvPr>
            <p:ph type="pic" sz="quarter" idx="13" hasCustomPrompt="1"/>
          </p:nvPr>
        </p:nvSpPr>
        <p:spPr>
          <a:xfrm>
            <a:off x="323849" y="323850"/>
            <a:ext cx="11544301" cy="6208713"/>
          </a:xfrm>
          <a:custGeom>
            <a:avLst/>
            <a:gdLst>
              <a:gd name="csX0" fmla="*/ 11030036 w 11544301"/>
              <a:gd name="csY0" fmla="*/ 722113 h 6208713"/>
              <a:gd name="csX1" fmla="*/ 11041719 w 11544301"/>
              <a:gd name="csY1" fmla="*/ 726100 h 6208713"/>
              <a:gd name="csX2" fmla="*/ 11041719 w 11544301"/>
              <a:gd name="csY2" fmla="*/ 769153 h 6208713"/>
              <a:gd name="csX3" fmla="*/ 11041601 w 11544301"/>
              <a:gd name="csY3" fmla="*/ 769153 h 6208713"/>
              <a:gd name="csX4" fmla="*/ 11030855 w 11544301"/>
              <a:gd name="csY4" fmla="*/ 774078 h 6208713"/>
              <a:gd name="csX5" fmla="*/ 11010645 w 11544301"/>
              <a:gd name="csY5" fmla="*/ 747099 h 6208713"/>
              <a:gd name="csX6" fmla="*/ 11030036 w 11544301"/>
              <a:gd name="csY6" fmla="*/ 722113 h 6208713"/>
              <a:gd name="csX7" fmla="*/ 10927064 w 11544301"/>
              <a:gd name="csY7" fmla="*/ 721373 h 6208713"/>
              <a:gd name="csX8" fmla="*/ 10937820 w 11544301"/>
              <a:gd name="csY8" fmla="*/ 725478 h 6208713"/>
              <a:gd name="csX9" fmla="*/ 10943553 w 11544301"/>
              <a:gd name="csY9" fmla="*/ 747898 h 6208713"/>
              <a:gd name="csX10" fmla="*/ 10937820 w 11544301"/>
              <a:gd name="csY10" fmla="*/ 770199 h 6208713"/>
              <a:gd name="csX11" fmla="*/ 10927064 w 11544301"/>
              <a:gd name="csY11" fmla="*/ 774186 h 6208713"/>
              <a:gd name="csX12" fmla="*/ 10916545 w 11544301"/>
              <a:gd name="csY12" fmla="*/ 770199 h 6208713"/>
              <a:gd name="csX13" fmla="*/ 10910811 w 11544301"/>
              <a:gd name="csY13" fmla="*/ 747898 h 6208713"/>
              <a:gd name="csX14" fmla="*/ 10916545 w 11544301"/>
              <a:gd name="csY14" fmla="*/ 725478 h 6208713"/>
              <a:gd name="csX15" fmla="*/ 10927064 w 11544301"/>
              <a:gd name="csY15" fmla="*/ 721373 h 6208713"/>
              <a:gd name="csX16" fmla="*/ 10777387 w 11544301"/>
              <a:gd name="csY16" fmla="*/ 721373 h 6208713"/>
              <a:gd name="csX17" fmla="*/ 10787956 w 11544301"/>
              <a:gd name="csY17" fmla="*/ 725478 h 6208713"/>
              <a:gd name="csX18" fmla="*/ 10793709 w 11544301"/>
              <a:gd name="csY18" fmla="*/ 747898 h 6208713"/>
              <a:gd name="csX19" fmla="*/ 10787956 w 11544301"/>
              <a:gd name="csY19" fmla="*/ 770199 h 6208713"/>
              <a:gd name="csX20" fmla="*/ 10777387 w 11544301"/>
              <a:gd name="csY20" fmla="*/ 774186 h 6208713"/>
              <a:gd name="csX21" fmla="*/ 10766582 w 11544301"/>
              <a:gd name="csY21" fmla="*/ 770199 h 6208713"/>
              <a:gd name="csX22" fmla="*/ 10760829 w 11544301"/>
              <a:gd name="csY22" fmla="*/ 747898 h 6208713"/>
              <a:gd name="csX23" fmla="*/ 10766582 w 11544301"/>
              <a:gd name="csY23" fmla="*/ 725478 h 6208713"/>
              <a:gd name="csX24" fmla="*/ 10777387 w 11544301"/>
              <a:gd name="csY24" fmla="*/ 721373 h 6208713"/>
              <a:gd name="csX25" fmla="*/ 10665367 w 11544301"/>
              <a:gd name="csY25" fmla="*/ 721373 h 6208713"/>
              <a:gd name="csX26" fmla="*/ 10676054 w 11544301"/>
              <a:gd name="csY26" fmla="*/ 725478 h 6208713"/>
              <a:gd name="csX27" fmla="*/ 10681806 w 11544301"/>
              <a:gd name="csY27" fmla="*/ 747898 h 6208713"/>
              <a:gd name="csX28" fmla="*/ 10676054 w 11544301"/>
              <a:gd name="csY28" fmla="*/ 770199 h 6208713"/>
              <a:gd name="csX29" fmla="*/ 10665367 w 11544301"/>
              <a:gd name="csY29" fmla="*/ 774186 h 6208713"/>
              <a:gd name="csX30" fmla="*/ 10654798 w 11544301"/>
              <a:gd name="csY30" fmla="*/ 770199 h 6208713"/>
              <a:gd name="csX31" fmla="*/ 10649045 w 11544301"/>
              <a:gd name="csY31" fmla="*/ 747898 h 6208713"/>
              <a:gd name="csX32" fmla="*/ 10654798 w 11544301"/>
              <a:gd name="csY32" fmla="*/ 725478 h 6208713"/>
              <a:gd name="csX33" fmla="*/ 10665367 w 11544301"/>
              <a:gd name="csY33" fmla="*/ 721373 h 6208713"/>
              <a:gd name="csX34" fmla="*/ 11068876 w 11544301"/>
              <a:gd name="csY34" fmla="*/ 715936 h 6208713"/>
              <a:gd name="csX35" fmla="*/ 11066784 w 11544301"/>
              <a:gd name="csY35" fmla="*/ 718156 h 6208713"/>
              <a:gd name="csX36" fmla="*/ 11066784 w 11544301"/>
              <a:gd name="csY36" fmla="*/ 777235 h 6208713"/>
              <a:gd name="csX37" fmla="*/ 11068649 w 11544301"/>
              <a:gd name="csY37" fmla="*/ 779456 h 6208713"/>
              <a:gd name="csX38" fmla="*/ 11075280 w 11544301"/>
              <a:gd name="csY38" fmla="*/ 779456 h 6208713"/>
              <a:gd name="csX39" fmla="*/ 11077599 w 11544301"/>
              <a:gd name="csY39" fmla="*/ 777235 h 6208713"/>
              <a:gd name="csX40" fmla="*/ 11077599 w 11544301"/>
              <a:gd name="csY40" fmla="*/ 718156 h 6208713"/>
              <a:gd name="csX41" fmla="*/ 11075270 w 11544301"/>
              <a:gd name="csY41" fmla="*/ 715936 h 6208713"/>
              <a:gd name="csX42" fmla="*/ 11068876 w 11544301"/>
              <a:gd name="csY42" fmla="*/ 715936 h 6208713"/>
              <a:gd name="csX43" fmla="*/ 11176653 w 11544301"/>
              <a:gd name="csY43" fmla="*/ 715630 h 6208713"/>
              <a:gd name="csX44" fmla="*/ 11172893 w 11544301"/>
              <a:gd name="csY44" fmla="*/ 717623 h 6208713"/>
              <a:gd name="csX45" fmla="*/ 11151145 w 11544301"/>
              <a:gd name="csY45" fmla="*/ 744918 h 6208713"/>
              <a:gd name="csX46" fmla="*/ 11150671 w 11544301"/>
              <a:gd name="csY46" fmla="*/ 745619 h 6208713"/>
              <a:gd name="csX47" fmla="*/ 11150789 w 11544301"/>
              <a:gd name="csY47" fmla="*/ 746319 h 6208713"/>
              <a:gd name="csX48" fmla="*/ 11172657 w 11544301"/>
              <a:gd name="csY48" fmla="*/ 777591 h 6208713"/>
              <a:gd name="csX49" fmla="*/ 11176298 w 11544301"/>
              <a:gd name="csY49" fmla="*/ 779465 h 6208713"/>
              <a:gd name="csX50" fmla="*/ 11184646 w 11544301"/>
              <a:gd name="csY50" fmla="*/ 779465 h 6208713"/>
              <a:gd name="csX51" fmla="*/ 11186403 w 11544301"/>
              <a:gd name="csY51" fmla="*/ 777936 h 6208713"/>
              <a:gd name="csX52" fmla="*/ 11185584 w 11544301"/>
              <a:gd name="csY52" fmla="*/ 776416 h 6208713"/>
              <a:gd name="csX53" fmla="*/ 11162305 w 11544301"/>
              <a:gd name="csY53" fmla="*/ 745609 h 6208713"/>
              <a:gd name="csX54" fmla="*/ 11162068 w 11544301"/>
              <a:gd name="csY54" fmla="*/ 745372 h 6208713"/>
              <a:gd name="csX55" fmla="*/ 11184054 w 11544301"/>
              <a:gd name="csY55" fmla="*/ 719488 h 6208713"/>
              <a:gd name="csX56" fmla="*/ 11184646 w 11544301"/>
              <a:gd name="csY56" fmla="*/ 717031 h 6208713"/>
              <a:gd name="csX57" fmla="*/ 11182416 w 11544301"/>
              <a:gd name="csY57" fmla="*/ 715630 h 6208713"/>
              <a:gd name="csX58" fmla="*/ 11176653 w 11544301"/>
              <a:gd name="csY58" fmla="*/ 715630 h 6208713"/>
              <a:gd name="csX59" fmla="*/ 10696618 w 11544301"/>
              <a:gd name="csY59" fmla="*/ 715630 h 6208713"/>
              <a:gd name="csX60" fmla="*/ 10694970 w 11544301"/>
              <a:gd name="csY60" fmla="*/ 717268 h 6208713"/>
              <a:gd name="csX61" fmla="*/ 10695444 w 11544301"/>
              <a:gd name="csY61" fmla="*/ 719024 h 6208713"/>
              <a:gd name="csX62" fmla="*/ 10717627 w 11544301"/>
              <a:gd name="csY62" fmla="*/ 777571 h 6208713"/>
              <a:gd name="csX63" fmla="*/ 10719620 w 11544301"/>
              <a:gd name="csY63" fmla="*/ 779446 h 6208713"/>
              <a:gd name="csX64" fmla="*/ 10724436 w 11544301"/>
              <a:gd name="csY64" fmla="*/ 779446 h 6208713"/>
              <a:gd name="csX65" fmla="*/ 10726666 w 11544301"/>
              <a:gd name="csY65" fmla="*/ 777571 h 6208713"/>
              <a:gd name="csX66" fmla="*/ 10748267 w 11544301"/>
              <a:gd name="csY66" fmla="*/ 718797 h 6208713"/>
              <a:gd name="csX67" fmla="*/ 10748504 w 11544301"/>
              <a:gd name="csY67" fmla="*/ 716923 h 6208713"/>
              <a:gd name="csX68" fmla="*/ 10746974 w 11544301"/>
              <a:gd name="csY68" fmla="*/ 715630 h 6208713"/>
              <a:gd name="csX69" fmla="*/ 10740866 w 11544301"/>
              <a:gd name="csY69" fmla="*/ 715630 h 6208713"/>
              <a:gd name="csX70" fmla="*/ 10739336 w 11544301"/>
              <a:gd name="csY70" fmla="*/ 717386 h 6208713"/>
              <a:gd name="csX71" fmla="*/ 10723370 w 11544301"/>
              <a:gd name="csY71" fmla="*/ 764318 h 6208713"/>
              <a:gd name="csX72" fmla="*/ 10706940 w 11544301"/>
              <a:gd name="csY72" fmla="*/ 717623 h 6208713"/>
              <a:gd name="csX73" fmla="*/ 10704128 w 11544301"/>
              <a:gd name="csY73" fmla="*/ 715630 h 6208713"/>
              <a:gd name="csX74" fmla="*/ 10696618 w 11544301"/>
              <a:gd name="csY74" fmla="*/ 715630 h 6208713"/>
              <a:gd name="csX75" fmla="*/ 11110538 w 11544301"/>
              <a:gd name="csY75" fmla="*/ 714564 h 6208713"/>
              <a:gd name="csX76" fmla="*/ 11089519 w 11544301"/>
              <a:gd name="csY76" fmla="*/ 732050 h 6208713"/>
              <a:gd name="csX77" fmla="*/ 11106078 w 11544301"/>
              <a:gd name="csY77" fmla="*/ 751066 h 6208713"/>
              <a:gd name="csX78" fmla="*/ 11119696 w 11544301"/>
              <a:gd name="csY78" fmla="*/ 763391 h 6208713"/>
              <a:gd name="csX79" fmla="*/ 11107134 w 11544301"/>
              <a:gd name="csY79" fmla="*/ 774186 h 6208713"/>
              <a:gd name="csX80" fmla="*/ 11091750 w 11544301"/>
              <a:gd name="csY80" fmla="*/ 767733 h 6208713"/>
              <a:gd name="csX81" fmla="*/ 11087171 w 11544301"/>
              <a:gd name="csY81" fmla="*/ 771837 h 6208713"/>
              <a:gd name="csX82" fmla="*/ 11106897 w 11544301"/>
              <a:gd name="csY82" fmla="*/ 781232 h 6208713"/>
              <a:gd name="csX83" fmla="*/ 11129445 w 11544301"/>
              <a:gd name="csY83" fmla="*/ 762216 h 6208713"/>
              <a:gd name="csX84" fmla="*/ 11099269 w 11544301"/>
              <a:gd name="csY84" fmla="*/ 730994 h 6208713"/>
              <a:gd name="csX85" fmla="*/ 11109837 w 11544301"/>
              <a:gd name="csY85" fmla="*/ 721600 h 6208713"/>
              <a:gd name="csX86" fmla="*/ 11122518 w 11544301"/>
              <a:gd name="csY86" fmla="*/ 726297 h 6208713"/>
              <a:gd name="csX87" fmla="*/ 11127096 w 11544301"/>
              <a:gd name="csY87" fmla="*/ 721955 h 6208713"/>
              <a:gd name="csX88" fmla="*/ 11110538 w 11544301"/>
              <a:gd name="csY88" fmla="*/ 714564 h 6208713"/>
              <a:gd name="csX89" fmla="*/ 10982531 w 11544301"/>
              <a:gd name="csY89" fmla="*/ 714209 h 6208713"/>
              <a:gd name="csX90" fmla="*/ 10968578 w 11544301"/>
              <a:gd name="csY90" fmla="*/ 716084 h 6208713"/>
              <a:gd name="csX91" fmla="*/ 10962835 w 11544301"/>
              <a:gd name="csY91" fmla="*/ 721107 h 6208713"/>
              <a:gd name="csX92" fmla="*/ 10962835 w 11544301"/>
              <a:gd name="csY92" fmla="*/ 777117 h 6208713"/>
              <a:gd name="csX93" fmla="*/ 10965302 w 11544301"/>
              <a:gd name="csY93" fmla="*/ 779100 h 6208713"/>
              <a:gd name="csX94" fmla="*/ 10971519 w 11544301"/>
              <a:gd name="csY94" fmla="*/ 779100 h 6208713"/>
              <a:gd name="csX95" fmla="*/ 10973749 w 11544301"/>
              <a:gd name="csY95" fmla="*/ 777117 h 6208713"/>
              <a:gd name="csX96" fmla="*/ 10973749 w 11544301"/>
              <a:gd name="csY96" fmla="*/ 725784 h 6208713"/>
              <a:gd name="csX97" fmla="*/ 10979966 w 11544301"/>
              <a:gd name="csY97" fmla="*/ 720288 h 6208713"/>
              <a:gd name="csX98" fmla="*/ 10993218 w 11544301"/>
              <a:gd name="csY98" fmla="*/ 726021 h 6208713"/>
              <a:gd name="csX99" fmla="*/ 10998596 w 11544301"/>
              <a:gd name="csY99" fmla="*/ 720643 h 6208713"/>
              <a:gd name="csX100" fmla="*/ 10982531 w 11544301"/>
              <a:gd name="csY100" fmla="*/ 714209 h 6208713"/>
              <a:gd name="csX101" fmla="*/ 10927074 w 11544301"/>
              <a:gd name="csY101" fmla="*/ 714209 h 6208713"/>
              <a:gd name="csX102" fmla="*/ 10911176 w 11544301"/>
              <a:gd name="csY102" fmla="*/ 718788 h 6208713"/>
              <a:gd name="csX103" fmla="*/ 10899483 w 11544301"/>
              <a:gd name="csY103" fmla="*/ 747898 h 6208713"/>
              <a:gd name="csX104" fmla="*/ 10911176 w 11544301"/>
              <a:gd name="csY104" fmla="*/ 776890 h 6208713"/>
              <a:gd name="csX105" fmla="*/ 10927074 w 11544301"/>
              <a:gd name="csY105" fmla="*/ 781350 h 6208713"/>
              <a:gd name="csX106" fmla="*/ 10942971 w 11544301"/>
              <a:gd name="csY106" fmla="*/ 776890 h 6208713"/>
              <a:gd name="csX107" fmla="*/ 10954783 w 11544301"/>
              <a:gd name="csY107" fmla="*/ 747898 h 6208713"/>
              <a:gd name="csX108" fmla="*/ 10942971 w 11544301"/>
              <a:gd name="csY108" fmla="*/ 718788 h 6208713"/>
              <a:gd name="csX109" fmla="*/ 10927074 w 11544301"/>
              <a:gd name="csY109" fmla="*/ 714209 h 6208713"/>
              <a:gd name="csX110" fmla="*/ 10865261 w 11544301"/>
              <a:gd name="csY110" fmla="*/ 714209 h 6208713"/>
              <a:gd name="csX111" fmla="*/ 10846236 w 11544301"/>
              <a:gd name="csY111" fmla="*/ 717258 h 6208713"/>
              <a:gd name="csX112" fmla="*/ 10840749 w 11544301"/>
              <a:gd name="csY112" fmla="*/ 722301 h 6208713"/>
              <a:gd name="csX113" fmla="*/ 10840749 w 11544301"/>
              <a:gd name="csY113" fmla="*/ 777216 h 6208713"/>
              <a:gd name="csX114" fmla="*/ 10843088 w 11544301"/>
              <a:gd name="csY114" fmla="*/ 779446 h 6208713"/>
              <a:gd name="csX115" fmla="*/ 10849157 w 11544301"/>
              <a:gd name="csY115" fmla="*/ 779446 h 6208713"/>
              <a:gd name="csX116" fmla="*/ 10851722 w 11544301"/>
              <a:gd name="csY116" fmla="*/ 776979 h 6208713"/>
              <a:gd name="csX117" fmla="*/ 10851722 w 11544301"/>
              <a:gd name="csY117" fmla="*/ 726406 h 6208713"/>
              <a:gd name="csX118" fmla="*/ 10864916 w 11544301"/>
              <a:gd name="csY118" fmla="*/ 720889 h 6208713"/>
              <a:gd name="csX119" fmla="*/ 10879155 w 11544301"/>
              <a:gd name="csY119" fmla="*/ 735908 h 6208713"/>
              <a:gd name="csX120" fmla="*/ 10879155 w 11544301"/>
              <a:gd name="csY120" fmla="*/ 776979 h 6208713"/>
              <a:gd name="csX121" fmla="*/ 10881958 w 11544301"/>
              <a:gd name="csY121" fmla="*/ 779446 h 6208713"/>
              <a:gd name="csX122" fmla="*/ 10888727 w 11544301"/>
              <a:gd name="csY122" fmla="*/ 779446 h 6208713"/>
              <a:gd name="csX123" fmla="*/ 10889891 w 11544301"/>
              <a:gd name="csY123" fmla="*/ 776989 h 6208713"/>
              <a:gd name="csX124" fmla="*/ 10889891 w 11544301"/>
              <a:gd name="csY124" fmla="*/ 734507 h 6208713"/>
              <a:gd name="csX125" fmla="*/ 10865261 w 11544301"/>
              <a:gd name="csY125" fmla="*/ 714209 h 6208713"/>
              <a:gd name="csX126" fmla="*/ 10777160 w 11544301"/>
              <a:gd name="csY126" fmla="*/ 714209 h 6208713"/>
              <a:gd name="csX127" fmla="*/ 10761194 w 11544301"/>
              <a:gd name="csY127" fmla="*/ 718788 h 6208713"/>
              <a:gd name="csX128" fmla="*/ 10749451 w 11544301"/>
              <a:gd name="csY128" fmla="*/ 747898 h 6208713"/>
              <a:gd name="csX129" fmla="*/ 10761194 w 11544301"/>
              <a:gd name="csY129" fmla="*/ 776890 h 6208713"/>
              <a:gd name="csX130" fmla="*/ 10777160 w 11544301"/>
              <a:gd name="csY130" fmla="*/ 781350 h 6208713"/>
              <a:gd name="csX131" fmla="*/ 10793127 w 11544301"/>
              <a:gd name="csY131" fmla="*/ 776890 h 6208713"/>
              <a:gd name="csX132" fmla="*/ 10804988 w 11544301"/>
              <a:gd name="csY132" fmla="*/ 747898 h 6208713"/>
              <a:gd name="csX133" fmla="*/ 10793127 w 11544301"/>
              <a:gd name="csY133" fmla="*/ 718788 h 6208713"/>
              <a:gd name="csX134" fmla="*/ 10777160 w 11544301"/>
              <a:gd name="csY134" fmla="*/ 714209 h 6208713"/>
              <a:gd name="csX135" fmla="*/ 10665376 w 11544301"/>
              <a:gd name="csY135" fmla="*/ 714209 h 6208713"/>
              <a:gd name="csX136" fmla="*/ 10649410 w 11544301"/>
              <a:gd name="csY136" fmla="*/ 718788 h 6208713"/>
              <a:gd name="csX137" fmla="*/ 10637549 w 11544301"/>
              <a:gd name="csY137" fmla="*/ 747898 h 6208713"/>
              <a:gd name="csX138" fmla="*/ 10649410 w 11544301"/>
              <a:gd name="csY138" fmla="*/ 776890 h 6208713"/>
              <a:gd name="csX139" fmla="*/ 10665376 w 11544301"/>
              <a:gd name="csY139" fmla="*/ 781350 h 6208713"/>
              <a:gd name="csX140" fmla="*/ 10681343 w 11544301"/>
              <a:gd name="csY140" fmla="*/ 776890 h 6208713"/>
              <a:gd name="csX141" fmla="*/ 10693086 w 11544301"/>
              <a:gd name="csY141" fmla="*/ 747898 h 6208713"/>
              <a:gd name="csX142" fmla="*/ 10681343 w 11544301"/>
              <a:gd name="csY142" fmla="*/ 718788 h 6208713"/>
              <a:gd name="csX143" fmla="*/ 10665376 w 11544301"/>
              <a:gd name="csY143" fmla="*/ 714209 h 6208713"/>
              <a:gd name="csX144" fmla="*/ 10603445 w 11544301"/>
              <a:gd name="csY144" fmla="*/ 714209 h 6208713"/>
              <a:gd name="csX145" fmla="*/ 10584331 w 11544301"/>
              <a:gd name="csY145" fmla="*/ 717258 h 6208713"/>
              <a:gd name="csX146" fmla="*/ 10578815 w 11544301"/>
              <a:gd name="csY146" fmla="*/ 722301 h 6208713"/>
              <a:gd name="csX147" fmla="*/ 10578815 w 11544301"/>
              <a:gd name="csY147" fmla="*/ 777216 h 6208713"/>
              <a:gd name="csX148" fmla="*/ 10581045 w 11544301"/>
              <a:gd name="csY148" fmla="*/ 779446 h 6208713"/>
              <a:gd name="csX149" fmla="*/ 10587144 w 11544301"/>
              <a:gd name="csY149" fmla="*/ 779446 h 6208713"/>
              <a:gd name="csX150" fmla="*/ 10589719 w 11544301"/>
              <a:gd name="csY150" fmla="*/ 776979 h 6208713"/>
              <a:gd name="csX151" fmla="*/ 10589719 w 11544301"/>
              <a:gd name="csY151" fmla="*/ 726406 h 6208713"/>
              <a:gd name="csX152" fmla="*/ 10602972 w 11544301"/>
              <a:gd name="csY152" fmla="*/ 720889 h 6208713"/>
              <a:gd name="csX153" fmla="*/ 10617280 w 11544301"/>
              <a:gd name="csY153" fmla="*/ 735908 h 6208713"/>
              <a:gd name="csX154" fmla="*/ 10617280 w 11544301"/>
              <a:gd name="csY154" fmla="*/ 776979 h 6208713"/>
              <a:gd name="csX155" fmla="*/ 10620093 w 11544301"/>
              <a:gd name="csY155" fmla="*/ 779446 h 6208713"/>
              <a:gd name="csX156" fmla="*/ 10626891 w 11544301"/>
              <a:gd name="csY156" fmla="*/ 779446 h 6208713"/>
              <a:gd name="csX157" fmla="*/ 10628194 w 11544301"/>
              <a:gd name="csY157" fmla="*/ 776989 h 6208713"/>
              <a:gd name="csX158" fmla="*/ 10628194 w 11544301"/>
              <a:gd name="csY158" fmla="*/ 734507 h 6208713"/>
              <a:gd name="csX159" fmla="*/ 10603445 w 11544301"/>
              <a:gd name="csY159" fmla="*/ 714209 h 6208713"/>
              <a:gd name="csX160" fmla="*/ 11043821 w 11544301"/>
              <a:gd name="csY160" fmla="*/ 692884 h 6208713"/>
              <a:gd name="csX161" fmla="*/ 11041601 w 11544301"/>
              <a:gd name="csY161" fmla="*/ 695697 h 6208713"/>
              <a:gd name="csX162" fmla="*/ 11041601 w 11544301"/>
              <a:gd name="csY162" fmla="*/ 717988 h 6208713"/>
              <a:gd name="csX163" fmla="*/ 11028279 w 11544301"/>
              <a:gd name="csY163" fmla="*/ 714584 h 6208713"/>
              <a:gd name="csX164" fmla="*/ 10999534 w 11544301"/>
              <a:gd name="csY164" fmla="*/ 747898 h 6208713"/>
              <a:gd name="csX165" fmla="*/ 11030499 w 11544301"/>
              <a:gd name="csY165" fmla="*/ 781330 h 6208713"/>
              <a:gd name="csX166" fmla="*/ 11052238 w 11544301"/>
              <a:gd name="csY166" fmla="*/ 772666 h 6208713"/>
              <a:gd name="csX167" fmla="*/ 11052238 w 11544301"/>
              <a:gd name="csY167" fmla="*/ 695351 h 6208713"/>
              <a:gd name="csX168" fmla="*/ 11049900 w 11544301"/>
              <a:gd name="csY168" fmla="*/ 692884 h 6208713"/>
              <a:gd name="csX169" fmla="*/ 11043821 w 11544301"/>
              <a:gd name="csY169" fmla="*/ 692884 h 6208713"/>
              <a:gd name="csX170" fmla="*/ 11140329 w 11544301"/>
              <a:gd name="csY170" fmla="*/ 692657 h 6208713"/>
              <a:gd name="csX171" fmla="*/ 11138326 w 11544301"/>
              <a:gd name="csY171" fmla="*/ 694651 h 6208713"/>
              <a:gd name="csX172" fmla="*/ 11138326 w 11544301"/>
              <a:gd name="csY172" fmla="*/ 777462 h 6208713"/>
              <a:gd name="csX173" fmla="*/ 11140329 w 11544301"/>
              <a:gd name="csY173" fmla="*/ 779337 h 6208713"/>
              <a:gd name="csX174" fmla="*/ 11146793 w 11544301"/>
              <a:gd name="csY174" fmla="*/ 779337 h 6208713"/>
              <a:gd name="csX175" fmla="*/ 11149023 w 11544301"/>
              <a:gd name="csY175" fmla="*/ 777581 h 6208713"/>
              <a:gd name="csX176" fmla="*/ 11149023 w 11544301"/>
              <a:gd name="csY176" fmla="*/ 694414 h 6208713"/>
              <a:gd name="csX177" fmla="*/ 11146793 w 11544301"/>
              <a:gd name="csY177" fmla="*/ 692657 h 6208713"/>
              <a:gd name="csX178" fmla="*/ 11140329 w 11544301"/>
              <a:gd name="csY178" fmla="*/ 692657 h 6208713"/>
              <a:gd name="csX179" fmla="*/ 11072487 w 11544301"/>
              <a:gd name="csY179" fmla="*/ 691947 h 6208713"/>
              <a:gd name="csX180" fmla="*/ 11065738 w 11544301"/>
              <a:gd name="csY180" fmla="*/ 698499 h 6208713"/>
              <a:gd name="csX181" fmla="*/ 11072251 w 11544301"/>
              <a:gd name="csY181" fmla="*/ 704933 h 6208713"/>
              <a:gd name="csX182" fmla="*/ 11078882 w 11544301"/>
              <a:gd name="csY182" fmla="*/ 698035 h 6208713"/>
              <a:gd name="csX183" fmla="*/ 11072487 w 11544301"/>
              <a:gd name="csY183" fmla="*/ 691947 h 6208713"/>
              <a:gd name="csX184" fmla="*/ 11202724 w 11544301"/>
              <a:gd name="csY184" fmla="*/ 682641 h 6208713"/>
              <a:gd name="csX185" fmla="*/ 11202964 w 11544301"/>
              <a:gd name="csY185" fmla="*/ 682818 h 6208713"/>
              <a:gd name="csX186" fmla="*/ 11202724 w 11544301"/>
              <a:gd name="csY186" fmla="*/ 682878 h 6208713"/>
              <a:gd name="csX187" fmla="*/ 11202724 w 11544301"/>
              <a:gd name="csY187" fmla="*/ 682641 h 6208713"/>
              <a:gd name="csX188" fmla="*/ 11195580 w 11544301"/>
              <a:gd name="csY188" fmla="*/ 674076 h 6208713"/>
              <a:gd name="csX189" fmla="*/ 11199438 w 11544301"/>
              <a:gd name="csY189" fmla="*/ 674076 h 6208713"/>
              <a:gd name="csX190" fmla="*/ 11204708 w 11544301"/>
              <a:gd name="csY190" fmla="*/ 677244 h 6208713"/>
              <a:gd name="csX191" fmla="*/ 11199793 w 11544301"/>
              <a:gd name="csY191" fmla="*/ 680411 h 6208713"/>
              <a:gd name="csX192" fmla="*/ 11195580 w 11544301"/>
              <a:gd name="csY192" fmla="*/ 680411 h 6208713"/>
              <a:gd name="csX193" fmla="*/ 11192304 w 11544301"/>
              <a:gd name="csY193" fmla="*/ 671135 h 6208713"/>
              <a:gd name="csX194" fmla="*/ 11192304 w 11544301"/>
              <a:gd name="csY194" fmla="*/ 692381 h 6208713"/>
              <a:gd name="csX195" fmla="*/ 11195817 w 11544301"/>
              <a:gd name="csY195" fmla="*/ 692381 h 6208713"/>
              <a:gd name="csX196" fmla="*/ 11195817 w 11544301"/>
              <a:gd name="csY196" fmla="*/ 683342 h 6208713"/>
              <a:gd name="csX197" fmla="*/ 11197810 w 11544301"/>
              <a:gd name="csY197" fmla="*/ 683342 h 6208713"/>
              <a:gd name="csX198" fmla="*/ 11204125 w 11544301"/>
              <a:gd name="csY198" fmla="*/ 688977 h 6208713"/>
              <a:gd name="csX199" fmla="*/ 11206000 w 11544301"/>
              <a:gd name="csY199" fmla="*/ 692263 h 6208713"/>
              <a:gd name="csX200" fmla="*/ 11210095 w 11544301"/>
              <a:gd name="csY200" fmla="*/ 692263 h 6208713"/>
              <a:gd name="csX201" fmla="*/ 11207520 w 11544301"/>
              <a:gd name="csY201" fmla="*/ 688039 h 6208713"/>
              <a:gd name="csX202" fmla="*/ 11204593 w 11544301"/>
              <a:gd name="csY202" fmla="*/ 684019 h 6208713"/>
              <a:gd name="csX203" fmla="*/ 11202964 w 11544301"/>
              <a:gd name="csY203" fmla="*/ 682818 h 6208713"/>
              <a:gd name="csX204" fmla="*/ 11205485 w 11544301"/>
              <a:gd name="csY204" fmla="*/ 682189 h 6208713"/>
              <a:gd name="csX205" fmla="*/ 11208694 w 11544301"/>
              <a:gd name="csY205" fmla="*/ 676888 h 6208713"/>
              <a:gd name="csX206" fmla="*/ 11206701 w 11544301"/>
              <a:gd name="csY206" fmla="*/ 672783 h 6208713"/>
              <a:gd name="csX207" fmla="*/ 11199793 w 11544301"/>
              <a:gd name="csY207" fmla="*/ 671135 h 6208713"/>
              <a:gd name="csX208" fmla="*/ 11192304 w 11544301"/>
              <a:gd name="csY208" fmla="*/ 671135 h 6208713"/>
              <a:gd name="csX209" fmla="*/ 11200613 w 11544301"/>
              <a:gd name="csY209" fmla="*/ 665274 h 6208713"/>
              <a:gd name="csX210" fmla="*/ 11216993 w 11544301"/>
              <a:gd name="csY210" fmla="*/ 681585 h 6208713"/>
              <a:gd name="csX211" fmla="*/ 11200613 w 11544301"/>
              <a:gd name="csY211" fmla="*/ 698134 h 6208713"/>
              <a:gd name="csX212" fmla="*/ 11184350 w 11544301"/>
              <a:gd name="csY212" fmla="*/ 681585 h 6208713"/>
              <a:gd name="csX213" fmla="*/ 11200613 w 11544301"/>
              <a:gd name="csY213" fmla="*/ 665274 h 6208713"/>
              <a:gd name="csX214" fmla="*/ 11200613 w 11544301"/>
              <a:gd name="csY214" fmla="*/ 661869 h 6208713"/>
              <a:gd name="csX215" fmla="*/ 11181074 w 11544301"/>
              <a:gd name="csY215" fmla="*/ 681585 h 6208713"/>
              <a:gd name="csX216" fmla="*/ 11200613 w 11544301"/>
              <a:gd name="csY216" fmla="*/ 701302 h 6208713"/>
              <a:gd name="csX217" fmla="*/ 11220151 w 11544301"/>
              <a:gd name="csY217" fmla="*/ 681585 h 6208713"/>
              <a:gd name="csX218" fmla="*/ 11200613 w 11544301"/>
              <a:gd name="csY218" fmla="*/ 661869 h 6208713"/>
              <a:gd name="csX219" fmla="*/ 11005508 w 11544301"/>
              <a:gd name="csY219" fmla="*/ 533974 h 6208713"/>
              <a:gd name="csX220" fmla="*/ 11007162 w 11544301"/>
              <a:gd name="csY220" fmla="*/ 534722 h 6208713"/>
              <a:gd name="csX221" fmla="*/ 11010329 w 11544301"/>
              <a:gd name="csY221" fmla="*/ 610093 h 6208713"/>
              <a:gd name="csX222" fmla="*/ 11006698 w 11544301"/>
              <a:gd name="csY222" fmla="*/ 609392 h 6208713"/>
              <a:gd name="csX223" fmla="*/ 11000836 w 11544301"/>
              <a:gd name="csY223" fmla="*/ 578446 h 6208713"/>
              <a:gd name="csX224" fmla="*/ 11004468 w 11544301"/>
              <a:gd name="csY224" fmla="*/ 535077 h 6208713"/>
              <a:gd name="csX225" fmla="*/ 11005508 w 11544301"/>
              <a:gd name="csY225" fmla="*/ 533974 h 6208713"/>
              <a:gd name="csX226" fmla="*/ 10869475 w 11544301"/>
              <a:gd name="csY226" fmla="*/ 489122 h 6208713"/>
              <a:gd name="csX227" fmla="*/ 10923778 w 11544301"/>
              <a:gd name="csY227" fmla="*/ 490997 h 6208713"/>
              <a:gd name="csX228" fmla="*/ 10922248 w 11544301"/>
              <a:gd name="csY228" fmla="*/ 520768 h 6208713"/>
              <a:gd name="csX229" fmla="*/ 10877566 w 11544301"/>
              <a:gd name="csY229" fmla="*/ 524873 h 6208713"/>
              <a:gd name="csX230" fmla="*/ 10871586 w 11544301"/>
              <a:gd name="csY230" fmla="*/ 518074 h 6208713"/>
              <a:gd name="csX231" fmla="*/ 10869475 w 11544301"/>
              <a:gd name="csY231" fmla="*/ 489122 h 6208713"/>
              <a:gd name="csX232" fmla="*/ 10964236 w 11544301"/>
              <a:gd name="csY232" fmla="*/ 486191 h 6208713"/>
              <a:gd name="csX233" fmla="*/ 10968223 w 11544301"/>
              <a:gd name="csY233" fmla="*/ 505651 h 6208713"/>
              <a:gd name="csX234" fmla="*/ 10958839 w 11544301"/>
              <a:gd name="csY234" fmla="*/ 512450 h 6208713"/>
              <a:gd name="csX235" fmla="*/ 10951211 w 11544301"/>
              <a:gd name="csY235" fmla="*/ 487948 h 6208713"/>
              <a:gd name="csX236" fmla="*/ 10964236 w 11544301"/>
              <a:gd name="csY236" fmla="*/ 486191 h 6208713"/>
              <a:gd name="csX237" fmla="*/ 10824447 w 11544301"/>
              <a:gd name="csY237" fmla="*/ 479402 h 6208713"/>
              <a:gd name="csX238" fmla="*/ 10841805 w 11544301"/>
              <a:gd name="csY238" fmla="*/ 484089 h 6208713"/>
              <a:gd name="csX239" fmla="*/ 10825858 w 11544301"/>
              <a:gd name="csY239" fmla="*/ 518084 h 6208713"/>
              <a:gd name="csX240" fmla="*/ 10818231 w 11544301"/>
              <a:gd name="csY240" fmla="*/ 512104 h 6208713"/>
              <a:gd name="csX241" fmla="*/ 10824447 w 11544301"/>
              <a:gd name="csY241" fmla="*/ 479402 h 6208713"/>
              <a:gd name="csX242" fmla="*/ 10804360 w 11544301"/>
              <a:gd name="csY242" fmla="*/ 472972 h 6208713"/>
              <a:gd name="csX243" fmla="*/ 10815428 w 11544301"/>
              <a:gd name="csY243" fmla="*/ 476590 h 6208713"/>
              <a:gd name="csX244" fmla="*/ 10807800 w 11544301"/>
              <a:gd name="csY244" fmla="*/ 516791 h 6208713"/>
              <a:gd name="csX245" fmla="*/ 10826914 w 11544301"/>
              <a:gd name="csY245" fmla="*/ 526758 h 6208713"/>
              <a:gd name="csX246" fmla="*/ 10850252 w 11544301"/>
              <a:gd name="csY246" fmla="*/ 485964 h 6208713"/>
              <a:gd name="csX247" fmla="*/ 10861274 w 11544301"/>
              <a:gd name="csY247" fmla="*/ 487957 h 6208713"/>
              <a:gd name="csX248" fmla="*/ 10864679 w 11544301"/>
              <a:gd name="csY248" fmla="*/ 526166 h 6208713"/>
              <a:gd name="csX249" fmla="*/ 10876639 w 11544301"/>
              <a:gd name="csY249" fmla="*/ 533666 h 6208713"/>
              <a:gd name="csX250" fmla="*/ 10929176 w 11544301"/>
              <a:gd name="csY250" fmla="*/ 527103 h 6208713"/>
              <a:gd name="csX251" fmla="*/ 10932106 w 11544301"/>
              <a:gd name="csY251" fmla="*/ 490296 h 6208713"/>
              <a:gd name="csX252" fmla="*/ 10942191 w 11544301"/>
              <a:gd name="csY252" fmla="*/ 489122 h 6208713"/>
              <a:gd name="csX253" fmla="*/ 10950638 w 11544301"/>
              <a:gd name="csY253" fmla="*/ 513269 h 6208713"/>
              <a:gd name="csX254" fmla="*/ 10968351 w 11544301"/>
              <a:gd name="csY254" fmla="*/ 516318 h 6208713"/>
              <a:gd name="csX255" fmla="*/ 10971983 w 11544301"/>
              <a:gd name="csY255" fmla="*/ 485254 h 6208713"/>
              <a:gd name="csX256" fmla="*/ 10992972 w 11544301"/>
              <a:gd name="csY256" fmla="*/ 517729 h 6208713"/>
              <a:gd name="csX257" fmla="*/ 10981249 w 11544301"/>
              <a:gd name="csY257" fmla="*/ 566141 h 6208713"/>
              <a:gd name="csX258" fmla="*/ 10912173 w 11544301"/>
              <a:gd name="csY258" fmla="*/ 550786 h 6208713"/>
              <a:gd name="csX259" fmla="*/ 10840986 w 11544301"/>
              <a:gd name="csY259" fmla="*/ 589232 h 6208713"/>
              <a:gd name="csX260" fmla="*/ 10837937 w 11544301"/>
              <a:gd name="csY260" fmla="*/ 590051 h 6208713"/>
              <a:gd name="csX261" fmla="*/ 10803340 w 11544301"/>
              <a:gd name="csY261" fmla="*/ 565203 h 6208713"/>
              <a:gd name="csX262" fmla="*/ 10776252 w 11544301"/>
              <a:gd name="csY262" fmla="*/ 532501 h 6208713"/>
              <a:gd name="csX263" fmla="*/ 10800064 w 11544301"/>
              <a:gd name="csY263" fmla="*/ 475771 h 6208713"/>
              <a:gd name="csX264" fmla="*/ 10804360 w 11544301"/>
              <a:gd name="csY264" fmla="*/ 472972 h 6208713"/>
              <a:gd name="csX265" fmla="*/ 10748327 w 11544301"/>
              <a:gd name="csY265" fmla="*/ 459672 h 6208713"/>
              <a:gd name="csX266" fmla="*/ 10737432 w 11544301"/>
              <a:gd name="csY266" fmla="*/ 467422 h 6208713"/>
              <a:gd name="csX267" fmla="*/ 10751592 w 11544301"/>
              <a:gd name="csY267" fmla="*/ 460535 h 6208713"/>
              <a:gd name="csX268" fmla="*/ 10748327 w 11544301"/>
              <a:gd name="csY268" fmla="*/ 459672 h 6208713"/>
              <a:gd name="csX269" fmla="*/ 10744927 w 11544301"/>
              <a:gd name="csY269" fmla="*/ 444943 h 6208713"/>
              <a:gd name="csX270" fmla="*/ 10767805 w 11544301"/>
              <a:gd name="csY270" fmla="*/ 454782 h 6208713"/>
              <a:gd name="csX271" fmla="*/ 10787739 w 11544301"/>
              <a:gd name="csY271" fmla="*/ 475879 h 6208713"/>
              <a:gd name="csX272" fmla="*/ 10765102 w 11544301"/>
              <a:gd name="csY272" fmla="*/ 525347 h 6208713"/>
              <a:gd name="csX273" fmla="*/ 10747862 w 11544301"/>
              <a:gd name="csY273" fmla="*/ 498033 h 6208713"/>
              <a:gd name="csX274" fmla="*/ 10723232 w 11544301"/>
              <a:gd name="csY274" fmla="*/ 490997 h 6208713"/>
              <a:gd name="csX275" fmla="*/ 10720883 w 11544301"/>
              <a:gd name="csY275" fmla="*/ 479866 h 6208713"/>
              <a:gd name="csX276" fmla="*/ 10727682 w 11544301"/>
              <a:gd name="csY276" fmla="*/ 470718 h 6208713"/>
              <a:gd name="csX277" fmla="*/ 10730149 w 11544301"/>
              <a:gd name="csY277" fmla="*/ 460406 h 6208713"/>
              <a:gd name="csX278" fmla="*/ 10740826 w 11544301"/>
              <a:gd name="csY278" fmla="*/ 447164 h 6208713"/>
              <a:gd name="csX279" fmla="*/ 10744927 w 11544301"/>
              <a:gd name="csY279" fmla="*/ 444943 h 6208713"/>
              <a:gd name="csX280" fmla="*/ 10717097 w 11544301"/>
              <a:gd name="csY280" fmla="*/ 389363 h 6208713"/>
              <a:gd name="csX281" fmla="*/ 10715367 w 11544301"/>
              <a:gd name="csY281" fmla="*/ 395841 h 6208713"/>
              <a:gd name="csX282" fmla="*/ 10728038 w 11544301"/>
              <a:gd name="csY282" fmla="*/ 433822 h 6208713"/>
              <a:gd name="csX283" fmla="*/ 10730968 w 11544301"/>
              <a:gd name="csY283" fmla="*/ 443197 h 6208713"/>
              <a:gd name="csX284" fmla="*/ 10721120 w 11544301"/>
              <a:gd name="csY284" fmla="*/ 457258 h 6208713"/>
              <a:gd name="csX285" fmla="*/ 10720064 w 11544301"/>
              <a:gd name="csY285" fmla="*/ 464294 h 6208713"/>
              <a:gd name="csX286" fmla="*/ 10709279 w 11544301"/>
              <a:gd name="csY286" fmla="*/ 478830 h 6208713"/>
              <a:gd name="csX287" fmla="*/ 10710917 w 11544301"/>
              <a:gd name="csY287" fmla="*/ 490671 h 6208713"/>
              <a:gd name="csX288" fmla="*/ 10720538 w 11544301"/>
              <a:gd name="csY288" fmla="*/ 500638 h 6208713"/>
              <a:gd name="csX289" fmla="*/ 10733435 w 11544301"/>
              <a:gd name="csY289" fmla="*/ 502049 h 6208713"/>
              <a:gd name="csX290" fmla="*/ 10748681 w 11544301"/>
              <a:gd name="csY290" fmla="*/ 514009 h 6208713"/>
              <a:gd name="csX291" fmla="*/ 10775887 w 11544301"/>
              <a:gd name="csY291" fmla="*/ 560891 h 6208713"/>
              <a:gd name="csX292" fmla="*/ 10781749 w 11544301"/>
              <a:gd name="csY292" fmla="*/ 584683 h 6208713"/>
              <a:gd name="csX293" fmla="*/ 10750556 w 11544301"/>
              <a:gd name="csY293" fmla="*/ 678457 h 6208713"/>
              <a:gd name="csX294" fmla="*/ 10752194 w 11544301"/>
              <a:gd name="csY294" fmla="*/ 687950 h 6208713"/>
              <a:gd name="csX295" fmla="*/ 10776124 w 11544301"/>
              <a:gd name="csY295" fmla="*/ 687950 h 6208713"/>
              <a:gd name="csX296" fmla="*/ 10781285 w 11544301"/>
              <a:gd name="csY296" fmla="*/ 681151 h 6208713"/>
              <a:gd name="csX297" fmla="*/ 10813188 w 11544301"/>
              <a:gd name="csY297" fmla="*/ 586439 h 6208713"/>
              <a:gd name="csX298" fmla="*/ 10845555 w 11544301"/>
              <a:gd name="csY298" fmla="*/ 679276 h 6208713"/>
              <a:gd name="csX299" fmla="*/ 10848959 w 11544301"/>
              <a:gd name="csY299" fmla="*/ 688187 h 6208713"/>
              <a:gd name="csX300" fmla="*/ 10869485 w 11544301"/>
              <a:gd name="csY300" fmla="*/ 688187 h 6208713"/>
              <a:gd name="csX301" fmla="*/ 10876165 w 11544301"/>
              <a:gd name="csY301" fmla="*/ 682207 h 6208713"/>
              <a:gd name="csX302" fmla="*/ 10854239 w 11544301"/>
              <a:gd name="csY302" fmla="*/ 596406 h 6208713"/>
              <a:gd name="csX303" fmla="*/ 10910298 w 11544301"/>
              <a:gd name="csY303" fmla="*/ 574489 h 6208713"/>
              <a:gd name="csX304" fmla="*/ 10941491 w 11544301"/>
              <a:gd name="csY304" fmla="*/ 598991 h 6208713"/>
              <a:gd name="csX305" fmla="*/ 10889299 w 11544301"/>
              <a:gd name="csY305" fmla="*/ 679286 h 6208713"/>
              <a:gd name="csX306" fmla="*/ 10891411 w 11544301"/>
              <a:gd name="csY306" fmla="*/ 687960 h 6208713"/>
              <a:gd name="csX307" fmla="*/ 10913111 w 11544301"/>
              <a:gd name="csY307" fmla="*/ 687960 h 6208713"/>
              <a:gd name="csX308" fmla="*/ 10921084 w 11544301"/>
              <a:gd name="csY308" fmla="*/ 682918 h 6208713"/>
              <a:gd name="csX309" fmla="*/ 10968233 w 11544301"/>
              <a:gd name="csY309" fmla="*/ 607083 h 6208713"/>
              <a:gd name="csX310" fmla="*/ 10977262 w 11544301"/>
              <a:gd name="csY310" fmla="*/ 579541 h 6208713"/>
              <a:gd name="csX311" fmla="*/ 10968697 w 11544301"/>
              <a:gd name="csY311" fmla="*/ 679405 h 6208713"/>
              <a:gd name="csX312" fmla="*/ 10970808 w 11544301"/>
              <a:gd name="csY312" fmla="*/ 687842 h 6208713"/>
              <a:gd name="csX313" fmla="*/ 10990396 w 11544301"/>
              <a:gd name="csY313" fmla="*/ 687842 h 6208713"/>
              <a:gd name="csX314" fmla="*/ 10996495 w 11544301"/>
              <a:gd name="csY314" fmla="*/ 680342 h 6208713"/>
              <a:gd name="csX315" fmla="*/ 11001182 w 11544301"/>
              <a:gd name="csY315" fmla="*/ 663813 h 6208713"/>
              <a:gd name="csX316" fmla="*/ 11018895 w 11544301"/>
              <a:gd name="csY316" fmla="*/ 659245 h 6208713"/>
              <a:gd name="csX317" fmla="*/ 11023473 w 11544301"/>
              <a:gd name="csY317" fmla="*/ 652446 h 6208713"/>
              <a:gd name="csX318" fmla="*/ 11019477 w 11544301"/>
              <a:gd name="csY318" fmla="*/ 506361 h 6208713"/>
              <a:gd name="csX319" fmla="*/ 10972565 w 11544301"/>
              <a:gd name="csY319" fmla="*/ 475889 h 6208713"/>
              <a:gd name="csX320" fmla="*/ 10902315 w 11544301"/>
              <a:gd name="csY320" fmla="*/ 481277 h 6208713"/>
              <a:gd name="csX321" fmla="*/ 10788439 w 11544301"/>
              <a:gd name="csY321" fmla="*/ 455137 h 6208713"/>
              <a:gd name="csX322" fmla="*/ 10788084 w 11544301"/>
              <a:gd name="csY322" fmla="*/ 449976 h 6208713"/>
              <a:gd name="csX323" fmla="*/ 10817638 w 11544301"/>
              <a:gd name="csY323" fmla="*/ 426303 h 6208713"/>
              <a:gd name="csX324" fmla="*/ 10815290 w 11544301"/>
              <a:gd name="csY324" fmla="*/ 419977 h 6208713"/>
              <a:gd name="csX325" fmla="*/ 10755480 w 11544301"/>
              <a:gd name="csY325" fmla="*/ 430763 h 6208713"/>
              <a:gd name="csX326" fmla="*/ 10720410 w 11544301"/>
              <a:gd name="csY326" fmla="*/ 393610 h 6208713"/>
              <a:gd name="csX327" fmla="*/ 10717097 w 11544301"/>
              <a:gd name="csY327" fmla="*/ 389363 h 6208713"/>
              <a:gd name="csX328" fmla="*/ 10778798 w 11544301"/>
              <a:gd name="csY328" fmla="*/ 335508 h 6208713"/>
              <a:gd name="csX329" fmla="*/ 10810691 w 11544301"/>
              <a:gd name="csY329" fmla="*/ 367480 h 6208713"/>
              <a:gd name="csX330" fmla="*/ 10778798 w 11544301"/>
              <a:gd name="csY330" fmla="*/ 399452 h 6208713"/>
              <a:gd name="csX331" fmla="*/ 10746668 w 11544301"/>
              <a:gd name="csY331" fmla="*/ 367480 h 6208713"/>
              <a:gd name="csX332" fmla="*/ 10778798 w 11544301"/>
              <a:gd name="csY332" fmla="*/ 335508 h 6208713"/>
              <a:gd name="csX333" fmla="*/ 10777397 w 11544301"/>
              <a:gd name="csY333" fmla="*/ 324150 h 6208713"/>
              <a:gd name="csX334" fmla="*/ 10729202 w 11544301"/>
              <a:gd name="csY334" fmla="*/ 372523 h 6208713"/>
              <a:gd name="csX335" fmla="*/ 10777397 w 11544301"/>
              <a:gd name="csY335" fmla="*/ 420895 h 6208713"/>
              <a:gd name="csX336" fmla="*/ 10825592 w 11544301"/>
              <a:gd name="csY336" fmla="*/ 372523 h 6208713"/>
              <a:gd name="csX337" fmla="*/ 10777397 w 11544301"/>
              <a:gd name="csY337" fmla="*/ 324150 h 6208713"/>
              <a:gd name="csX338" fmla="*/ 0 w 11544301"/>
              <a:gd name="csY338" fmla="*/ 0 h 6208713"/>
              <a:gd name="csX339" fmla="*/ 11544301 w 11544301"/>
              <a:gd name="csY339" fmla="*/ 0 h 6208713"/>
              <a:gd name="csX340" fmla="*/ 11544301 w 11544301"/>
              <a:gd name="csY340" fmla="*/ 6208713 h 6208713"/>
              <a:gd name="csX341" fmla="*/ 0 w 11544301"/>
              <a:gd name="csY341" fmla="*/ 6208713 h 62087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Lst>
            <a:rect l="l" t="t" r="r" b="b"/>
            <a:pathLst>
              <a:path w="11544301" h="6208713">
                <a:moveTo>
                  <a:pt x="11030036" y="722113"/>
                </a:moveTo>
                <a:cubicBezTo>
                  <a:pt x="11036341" y="722113"/>
                  <a:pt x="11039262" y="724106"/>
                  <a:pt x="11041719" y="726100"/>
                </a:cubicBezTo>
                <a:cubicBezTo>
                  <a:pt x="11041719" y="769153"/>
                  <a:pt x="11041719" y="769153"/>
                  <a:pt x="11041719" y="769153"/>
                </a:cubicBezTo>
                <a:lnTo>
                  <a:pt x="11041601" y="769153"/>
                </a:lnTo>
                <a:cubicBezTo>
                  <a:pt x="11041601" y="772321"/>
                  <a:pt x="11036341" y="774078"/>
                  <a:pt x="11030855" y="774078"/>
                </a:cubicBezTo>
                <a:cubicBezTo>
                  <a:pt x="11019053" y="774078"/>
                  <a:pt x="11010645" y="764101"/>
                  <a:pt x="11010645" y="747099"/>
                </a:cubicBezTo>
                <a:cubicBezTo>
                  <a:pt x="11010645" y="732080"/>
                  <a:pt x="11018826" y="722113"/>
                  <a:pt x="11030036" y="722113"/>
                </a:cubicBezTo>
                <a:close/>
                <a:moveTo>
                  <a:pt x="10927064" y="721373"/>
                </a:moveTo>
                <a:cubicBezTo>
                  <a:pt x="10931386" y="721373"/>
                  <a:pt x="10934544" y="722311"/>
                  <a:pt x="10937820" y="725478"/>
                </a:cubicBezTo>
                <a:cubicBezTo>
                  <a:pt x="10941333" y="728764"/>
                  <a:pt x="10943553" y="736047"/>
                  <a:pt x="10943553" y="747898"/>
                </a:cubicBezTo>
                <a:cubicBezTo>
                  <a:pt x="10943553" y="759404"/>
                  <a:pt x="10941333" y="766913"/>
                  <a:pt x="10937820" y="770199"/>
                </a:cubicBezTo>
                <a:cubicBezTo>
                  <a:pt x="10934544" y="773367"/>
                  <a:pt x="10931386" y="774186"/>
                  <a:pt x="10927064" y="774186"/>
                </a:cubicBezTo>
                <a:cubicBezTo>
                  <a:pt x="10922742" y="774186"/>
                  <a:pt x="10919811" y="773367"/>
                  <a:pt x="10916545" y="770199"/>
                </a:cubicBezTo>
                <a:cubicBezTo>
                  <a:pt x="10913150" y="766913"/>
                  <a:pt x="10910811" y="759631"/>
                  <a:pt x="10910811" y="747898"/>
                </a:cubicBezTo>
                <a:cubicBezTo>
                  <a:pt x="10910811" y="736274"/>
                  <a:pt x="10913150" y="728764"/>
                  <a:pt x="10916545" y="725478"/>
                </a:cubicBezTo>
                <a:cubicBezTo>
                  <a:pt x="10919821" y="722311"/>
                  <a:pt x="10922978" y="721373"/>
                  <a:pt x="10927064" y="721373"/>
                </a:cubicBezTo>
                <a:close/>
                <a:moveTo>
                  <a:pt x="10777387" y="721373"/>
                </a:moveTo>
                <a:cubicBezTo>
                  <a:pt x="10781739" y="721373"/>
                  <a:pt x="10784670" y="722311"/>
                  <a:pt x="10787956" y="725478"/>
                </a:cubicBezTo>
                <a:cubicBezTo>
                  <a:pt x="10791479" y="728764"/>
                  <a:pt x="10793709" y="736047"/>
                  <a:pt x="10793709" y="747898"/>
                </a:cubicBezTo>
                <a:cubicBezTo>
                  <a:pt x="10793709" y="759404"/>
                  <a:pt x="10791479" y="766913"/>
                  <a:pt x="10787956" y="770199"/>
                </a:cubicBezTo>
                <a:cubicBezTo>
                  <a:pt x="10784670" y="773367"/>
                  <a:pt x="10781502" y="774186"/>
                  <a:pt x="10777387" y="774186"/>
                </a:cubicBezTo>
                <a:cubicBezTo>
                  <a:pt x="10773045" y="774186"/>
                  <a:pt x="10770105" y="773367"/>
                  <a:pt x="10766582" y="770199"/>
                </a:cubicBezTo>
                <a:cubicBezTo>
                  <a:pt x="10763177" y="766913"/>
                  <a:pt x="10760829" y="759631"/>
                  <a:pt x="10760829" y="747898"/>
                </a:cubicBezTo>
                <a:cubicBezTo>
                  <a:pt x="10760829" y="736274"/>
                  <a:pt x="10763177" y="728764"/>
                  <a:pt x="10766582" y="725478"/>
                </a:cubicBezTo>
                <a:cubicBezTo>
                  <a:pt x="10769868" y="722311"/>
                  <a:pt x="10773035" y="721373"/>
                  <a:pt x="10777387" y="721373"/>
                </a:cubicBezTo>
                <a:close/>
                <a:moveTo>
                  <a:pt x="10665367" y="721373"/>
                </a:moveTo>
                <a:cubicBezTo>
                  <a:pt x="10669708" y="721373"/>
                  <a:pt x="10672649" y="722311"/>
                  <a:pt x="10676054" y="725478"/>
                </a:cubicBezTo>
                <a:cubicBezTo>
                  <a:pt x="10679468" y="728764"/>
                  <a:pt x="10681806" y="736047"/>
                  <a:pt x="10681806" y="747898"/>
                </a:cubicBezTo>
                <a:cubicBezTo>
                  <a:pt x="10681806" y="759404"/>
                  <a:pt x="10679576" y="766913"/>
                  <a:pt x="10676054" y="770199"/>
                </a:cubicBezTo>
                <a:cubicBezTo>
                  <a:pt x="10672767" y="773367"/>
                  <a:pt x="10669708" y="774186"/>
                  <a:pt x="10665367" y="774186"/>
                </a:cubicBezTo>
                <a:cubicBezTo>
                  <a:pt x="10661025" y="774186"/>
                  <a:pt x="10658084" y="773367"/>
                  <a:pt x="10654798" y="770199"/>
                </a:cubicBezTo>
                <a:cubicBezTo>
                  <a:pt x="10651275" y="766913"/>
                  <a:pt x="10649045" y="759631"/>
                  <a:pt x="10649045" y="747898"/>
                </a:cubicBezTo>
                <a:cubicBezTo>
                  <a:pt x="10649045" y="736274"/>
                  <a:pt x="10651275" y="728764"/>
                  <a:pt x="10654798" y="725478"/>
                </a:cubicBezTo>
                <a:cubicBezTo>
                  <a:pt x="10658084" y="722311"/>
                  <a:pt x="10661143" y="721373"/>
                  <a:pt x="10665367" y="721373"/>
                </a:cubicBezTo>
                <a:close/>
                <a:moveTo>
                  <a:pt x="11068876" y="715936"/>
                </a:moveTo>
                <a:cubicBezTo>
                  <a:pt x="11066784" y="715936"/>
                  <a:pt x="11066784" y="716636"/>
                  <a:pt x="11066784" y="718156"/>
                </a:cubicBezTo>
                <a:cubicBezTo>
                  <a:pt x="11066784" y="777235"/>
                  <a:pt x="11066784" y="777235"/>
                  <a:pt x="11066784" y="777235"/>
                </a:cubicBezTo>
                <a:cubicBezTo>
                  <a:pt x="11066784" y="778992"/>
                  <a:pt x="11066784" y="779456"/>
                  <a:pt x="11068649" y="779456"/>
                </a:cubicBezTo>
                <a:cubicBezTo>
                  <a:pt x="11075280" y="779456"/>
                  <a:pt x="11075280" y="779456"/>
                  <a:pt x="11075280" y="779456"/>
                </a:cubicBezTo>
                <a:cubicBezTo>
                  <a:pt x="11077135" y="779337"/>
                  <a:pt x="11077599" y="779337"/>
                  <a:pt x="11077599" y="777235"/>
                </a:cubicBezTo>
                <a:cubicBezTo>
                  <a:pt x="11077599" y="718156"/>
                  <a:pt x="11077599" y="718156"/>
                  <a:pt x="11077599" y="718156"/>
                </a:cubicBezTo>
                <a:cubicBezTo>
                  <a:pt x="11077599" y="716281"/>
                  <a:pt x="11077135" y="715936"/>
                  <a:pt x="11075270" y="715936"/>
                </a:cubicBezTo>
                <a:cubicBezTo>
                  <a:pt x="11068876" y="715936"/>
                  <a:pt x="11068876" y="715936"/>
                  <a:pt x="11068876" y="715936"/>
                </a:cubicBezTo>
                <a:close/>
                <a:moveTo>
                  <a:pt x="11176653" y="715630"/>
                </a:moveTo>
                <a:cubicBezTo>
                  <a:pt x="11174423" y="715630"/>
                  <a:pt x="11173594" y="715511"/>
                  <a:pt x="11172893" y="717623"/>
                </a:cubicBezTo>
                <a:cubicBezTo>
                  <a:pt x="11169371" y="728162"/>
                  <a:pt x="11160312" y="739530"/>
                  <a:pt x="11151145" y="744918"/>
                </a:cubicBezTo>
                <a:cubicBezTo>
                  <a:pt x="11150789" y="745273"/>
                  <a:pt x="11150671" y="745619"/>
                  <a:pt x="11150671" y="745619"/>
                </a:cubicBezTo>
                <a:cubicBezTo>
                  <a:pt x="11150671" y="745737"/>
                  <a:pt x="11150789" y="746082"/>
                  <a:pt x="11150789" y="746319"/>
                </a:cubicBezTo>
                <a:cubicBezTo>
                  <a:pt x="11172657" y="777591"/>
                  <a:pt x="11172657" y="777591"/>
                  <a:pt x="11172657" y="777591"/>
                </a:cubicBezTo>
                <a:cubicBezTo>
                  <a:pt x="11173949" y="779465"/>
                  <a:pt x="11174423" y="779465"/>
                  <a:pt x="11176298" y="779465"/>
                </a:cubicBezTo>
                <a:cubicBezTo>
                  <a:pt x="11184646" y="779465"/>
                  <a:pt x="11184646" y="779465"/>
                  <a:pt x="11184646" y="779465"/>
                </a:cubicBezTo>
                <a:cubicBezTo>
                  <a:pt x="11185228" y="779337"/>
                  <a:pt x="11186403" y="779337"/>
                  <a:pt x="11186403" y="777936"/>
                </a:cubicBezTo>
                <a:cubicBezTo>
                  <a:pt x="11186403" y="777472"/>
                  <a:pt x="11186047" y="776880"/>
                  <a:pt x="11185584" y="776416"/>
                </a:cubicBezTo>
                <a:cubicBezTo>
                  <a:pt x="11162305" y="745609"/>
                  <a:pt x="11162305" y="745609"/>
                  <a:pt x="11162305" y="745609"/>
                </a:cubicBezTo>
                <a:cubicBezTo>
                  <a:pt x="11162068" y="745372"/>
                  <a:pt x="11162068" y="745372"/>
                  <a:pt x="11162068" y="745372"/>
                </a:cubicBezTo>
                <a:cubicBezTo>
                  <a:pt x="11170298" y="739283"/>
                  <a:pt x="11178765" y="729790"/>
                  <a:pt x="11184054" y="719488"/>
                </a:cubicBezTo>
                <a:cubicBezTo>
                  <a:pt x="11184528" y="718314"/>
                  <a:pt x="11184646" y="717732"/>
                  <a:pt x="11184646" y="717031"/>
                </a:cubicBezTo>
                <a:cubicBezTo>
                  <a:pt x="11184646" y="715975"/>
                  <a:pt x="11184054" y="715630"/>
                  <a:pt x="11182416" y="715630"/>
                </a:cubicBezTo>
                <a:cubicBezTo>
                  <a:pt x="11176653" y="715630"/>
                  <a:pt x="11176653" y="715630"/>
                  <a:pt x="11176653" y="715630"/>
                </a:cubicBezTo>
                <a:close/>
                <a:moveTo>
                  <a:pt x="10696618" y="715630"/>
                </a:moveTo>
                <a:cubicBezTo>
                  <a:pt x="10696145" y="715630"/>
                  <a:pt x="10694970" y="715630"/>
                  <a:pt x="10694970" y="717268"/>
                </a:cubicBezTo>
                <a:cubicBezTo>
                  <a:pt x="10694970" y="717742"/>
                  <a:pt x="10695089" y="718324"/>
                  <a:pt x="10695444" y="719024"/>
                </a:cubicBezTo>
                <a:cubicBezTo>
                  <a:pt x="10717627" y="777571"/>
                  <a:pt x="10717627" y="777571"/>
                  <a:pt x="10717627" y="777571"/>
                </a:cubicBezTo>
                <a:cubicBezTo>
                  <a:pt x="10718328" y="778982"/>
                  <a:pt x="10718564" y="779446"/>
                  <a:pt x="10719620" y="779446"/>
                </a:cubicBezTo>
                <a:cubicBezTo>
                  <a:pt x="10724436" y="779446"/>
                  <a:pt x="10724436" y="779446"/>
                  <a:pt x="10724436" y="779446"/>
                </a:cubicBezTo>
                <a:cubicBezTo>
                  <a:pt x="10725847" y="779446"/>
                  <a:pt x="10726192" y="779209"/>
                  <a:pt x="10726666" y="777571"/>
                </a:cubicBezTo>
                <a:cubicBezTo>
                  <a:pt x="10748267" y="718797"/>
                  <a:pt x="10748267" y="718797"/>
                  <a:pt x="10748267" y="718797"/>
                </a:cubicBezTo>
                <a:cubicBezTo>
                  <a:pt x="10748504" y="717386"/>
                  <a:pt x="10748504" y="717268"/>
                  <a:pt x="10748504" y="716923"/>
                </a:cubicBezTo>
                <a:cubicBezTo>
                  <a:pt x="10748504" y="715630"/>
                  <a:pt x="10747566" y="715630"/>
                  <a:pt x="10746974" y="715630"/>
                </a:cubicBezTo>
                <a:cubicBezTo>
                  <a:pt x="10740866" y="715630"/>
                  <a:pt x="10740866" y="715630"/>
                  <a:pt x="10740866" y="715630"/>
                </a:cubicBezTo>
                <a:cubicBezTo>
                  <a:pt x="10740047" y="715867"/>
                  <a:pt x="10739928" y="716212"/>
                  <a:pt x="10739336" y="717386"/>
                </a:cubicBezTo>
                <a:cubicBezTo>
                  <a:pt x="10723370" y="764318"/>
                  <a:pt x="10723370" y="764318"/>
                  <a:pt x="10723370" y="764318"/>
                </a:cubicBezTo>
                <a:cubicBezTo>
                  <a:pt x="10706940" y="717623"/>
                  <a:pt x="10706940" y="717623"/>
                  <a:pt x="10706940" y="717623"/>
                </a:cubicBezTo>
                <a:cubicBezTo>
                  <a:pt x="10706239" y="715867"/>
                  <a:pt x="10706003" y="715630"/>
                  <a:pt x="10704128" y="715630"/>
                </a:cubicBezTo>
                <a:cubicBezTo>
                  <a:pt x="10696618" y="715630"/>
                  <a:pt x="10696618" y="715630"/>
                  <a:pt x="10696618" y="715630"/>
                </a:cubicBezTo>
                <a:close/>
                <a:moveTo>
                  <a:pt x="11110538" y="714564"/>
                </a:moveTo>
                <a:cubicBezTo>
                  <a:pt x="11099496" y="714564"/>
                  <a:pt x="11089519" y="720672"/>
                  <a:pt x="11089519" y="732050"/>
                </a:cubicBezTo>
                <a:cubicBezTo>
                  <a:pt x="11089519" y="742727"/>
                  <a:pt x="11097039" y="747187"/>
                  <a:pt x="11106078" y="751066"/>
                </a:cubicBezTo>
                <a:cubicBezTo>
                  <a:pt x="11113123" y="753996"/>
                  <a:pt x="11119696" y="756818"/>
                  <a:pt x="11119696" y="763391"/>
                </a:cubicBezTo>
                <a:cubicBezTo>
                  <a:pt x="11119696" y="768433"/>
                  <a:pt x="11115699" y="774186"/>
                  <a:pt x="11107134" y="774186"/>
                </a:cubicBezTo>
                <a:cubicBezTo>
                  <a:pt x="11098440" y="774186"/>
                  <a:pt x="11095983" y="767733"/>
                  <a:pt x="11091750" y="767733"/>
                </a:cubicBezTo>
                <a:cubicBezTo>
                  <a:pt x="11089756" y="767733"/>
                  <a:pt x="11087171" y="768670"/>
                  <a:pt x="11087171" y="771837"/>
                </a:cubicBezTo>
                <a:cubicBezTo>
                  <a:pt x="11087171" y="776880"/>
                  <a:pt x="11097039" y="781232"/>
                  <a:pt x="11106897" y="781232"/>
                </a:cubicBezTo>
                <a:cubicBezTo>
                  <a:pt x="11118048" y="781350"/>
                  <a:pt x="11129445" y="775479"/>
                  <a:pt x="11129445" y="762216"/>
                </a:cubicBezTo>
                <a:cubicBezTo>
                  <a:pt x="11129445" y="741444"/>
                  <a:pt x="11099269" y="744730"/>
                  <a:pt x="11099269" y="730994"/>
                </a:cubicBezTo>
                <a:cubicBezTo>
                  <a:pt x="11099269" y="726297"/>
                  <a:pt x="11102910" y="721600"/>
                  <a:pt x="11109837" y="721600"/>
                </a:cubicBezTo>
                <a:cubicBezTo>
                  <a:pt x="11117002" y="721600"/>
                  <a:pt x="11118876" y="726297"/>
                  <a:pt x="11122518" y="726297"/>
                </a:cubicBezTo>
                <a:cubicBezTo>
                  <a:pt x="11124393" y="726297"/>
                  <a:pt x="11127096" y="725241"/>
                  <a:pt x="11127096" y="721955"/>
                </a:cubicBezTo>
                <a:cubicBezTo>
                  <a:pt x="11127096" y="717258"/>
                  <a:pt x="11119113" y="714564"/>
                  <a:pt x="11110538" y="714564"/>
                </a:cubicBezTo>
                <a:close/>
                <a:moveTo>
                  <a:pt x="10982531" y="714209"/>
                </a:moveTo>
                <a:cubicBezTo>
                  <a:pt x="10975969" y="714209"/>
                  <a:pt x="10971864" y="715265"/>
                  <a:pt x="10968578" y="716084"/>
                </a:cubicBezTo>
                <a:cubicBezTo>
                  <a:pt x="10964355" y="717140"/>
                  <a:pt x="10962835" y="719123"/>
                  <a:pt x="10962835" y="721107"/>
                </a:cubicBezTo>
                <a:cubicBezTo>
                  <a:pt x="10962835" y="777117"/>
                  <a:pt x="10962835" y="777117"/>
                  <a:pt x="10962835" y="777117"/>
                </a:cubicBezTo>
                <a:cubicBezTo>
                  <a:pt x="10962835" y="778992"/>
                  <a:pt x="10963536" y="779100"/>
                  <a:pt x="10965302" y="779100"/>
                </a:cubicBezTo>
                <a:cubicBezTo>
                  <a:pt x="10971519" y="779100"/>
                  <a:pt x="10971519" y="779100"/>
                  <a:pt x="10971519" y="779100"/>
                </a:cubicBezTo>
                <a:cubicBezTo>
                  <a:pt x="10973038" y="779100"/>
                  <a:pt x="10973749" y="778982"/>
                  <a:pt x="10973749" y="777117"/>
                </a:cubicBezTo>
                <a:cubicBezTo>
                  <a:pt x="10973749" y="725784"/>
                  <a:pt x="10973749" y="725784"/>
                  <a:pt x="10973749" y="725784"/>
                </a:cubicBezTo>
                <a:cubicBezTo>
                  <a:pt x="10973749" y="722508"/>
                  <a:pt x="10976324" y="720288"/>
                  <a:pt x="10979966" y="720288"/>
                </a:cubicBezTo>
                <a:cubicBezTo>
                  <a:pt x="10987821" y="720288"/>
                  <a:pt x="10988995" y="726021"/>
                  <a:pt x="10993218" y="726021"/>
                </a:cubicBezTo>
                <a:cubicBezTo>
                  <a:pt x="10996248" y="726139"/>
                  <a:pt x="10998596" y="724264"/>
                  <a:pt x="10998596" y="720643"/>
                </a:cubicBezTo>
                <a:cubicBezTo>
                  <a:pt x="10998596" y="716084"/>
                  <a:pt x="10991097" y="714209"/>
                  <a:pt x="10982531" y="714209"/>
                </a:cubicBezTo>
                <a:close/>
                <a:moveTo>
                  <a:pt x="10927074" y="714209"/>
                </a:moveTo>
                <a:cubicBezTo>
                  <a:pt x="10921577" y="714209"/>
                  <a:pt x="10915735" y="715857"/>
                  <a:pt x="10911176" y="718788"/>
                </a:cubicBezTo>
                <a:cubicBezTo>
                  <a:pt x="10904160" y="723722"/>
                  <a:pt x="10899483" y="733106"/>
                  <a:pt x="10899483" y="747898"/>
                </a:cubicBezTo>
                <a:cubicBezTo>
                  <a:pt x="10899483" y="762572"/>
                  <a:pt x="10904160" y="771966"/>
                  <a:pt x="10911176" y="776890"/>
                </a:cubicBezTo>
                <a:cubicBezTo>
                  <a:pt x="10915499" y="779939"/>
                  <a:pt x="10921469" y="781350"/>
                  <a:pt x="10927074" y="781350"/>
                </a:cubicBezTo>
                <a:cubicBezTo>
                  <a:pt x="10932807" y="781350"/>
                  <a:pt x="10938649" y="779821"/>
                  <a:pt x="10942971" y="776890"/>
                </a:cubicBezTo>
                <a:cubicBezTo>
                  <a:pt x="10950105" y="771956"/>
                  <a:pt x="10954783" y="762572"/>
                  <a:pt x="10954783" y="747898"/>
                </a:cubicBezTo>
                <a:cubicBezTo>
                  <a:pt x="10954783" y="733106"/>
                  <a:pt x="10950105" y="723722"/>
                  <a:pt x="10942971" y="718788"/>
                </a:cubicBezTo>
                <a:cubicBezTo>
                  <a:pt x="10938530" y="715620"/>
                  <a:pt x="10932679" y="714209"/>
                  <a:pt x="10927074" y="714209"/>
                </a:cubicBezTo>
                <a:close/>
                <a:moveTo>
                  <a:pt x="10865261" y="714209"/>
                </a:moveTo>
                <a:cubicBezTo>
                  <a:pt x="10855926" y="714209"/>
                  <a:pt x="10849620" y="716202"/>
                  <a:pt x="10846236" y="717258"/>
                </a:cubicBezTo>
                <a:cubicBezTo>
                  <a:pt x="10842032" y="718669"/>
                  <a:pt x="10840749" y="720189"/>
                  <a:pt x="10840749" y="722301"/>
                </a:cubicBezTo>
                <a:cubicBezTo>
                  <a:pt x="10840749" y="777216"/>
                  <a:pt x="10840749" y="777216"/>
                  <a:pt x="10840749" y="777216"/>
                </a:cubicBezTo>
                <a:cubicBezTo>
                  <a:pt x="10840749" y="779209"/>
                  <a:pt x="10841213" y="779446"/>
                  <a:pt x="10843088" y="779446"/>
                </a:cubicBezTo>
                <a:cubicBezTo>
                  <a:pt x="10849157" y="779446"/>
                  <a:pt x="10849157" y="779446"/>
                  <a:pt x="10849157" y="779446"/>
                </a:cubicBezTo>
                <a:cubicBezTo>
                  <a:pt x="10850903" y="779446"/>
                  <a:pt x="10851722" y="779209"/>
                  <a:pt x="10851722" y="776979"/>
                </a:cubicBezTo>
                <a:cubicBezTo>
                  <a:pt x="10851722" y="726406"/>
                  <a:pt x="10851722" y="726406"/>
                  <a:pt x="10851722" y="726406"/>
                </a:cubicBezTo>
                <a:cubicBezTo>
                  <a:pt x="10851722" y="723702"/>
                  <a:pt x="10856390" y="720889"/>
                  <a:pt x="10864916" y="720889"/>
                </a:cubicBezTo>
                <a:cubicBezTo>
                  <a:pt x="10879155" y="720889"/>
                  <a:pt x="10879155" y="730156"/>
                  <a:pt x="10879155" y="735908"/>
                </a:cubicBezTo>
                <a:cubicBezTo>
                  <a:pt x="10879155" y="776979"/>
                  <a:pt x="10879155" y="776979"/>
                  <a:pt x="10879155" y="776979"/>
                </a:cubicBezTo>
                <a:cubicBezTo>
                  <a:pt x="10879155" y="779209"/>
                  <a:pt x="10879856" y="779446"/>
                  <a:pt x="10881958" y="779446"/>
                </a:cubicBezTo>
                <a:cubicBezTo>
                  <a:pt x="10888727" y="779446"/>
                  <a:pt x="10888727" y="779446"/>
                  <a:pt x="10888727" y="779446"/>
                </a:cubicBezTo>
                <a:cubicBezTo>
                  <a:pt x="10889891" y="779219"/>
                  <a:pt x="10889891" y="778044"/>
                  <a:pt x="10889891" y="776989"/>
                </a:cubicBezTo>
                <a:cubicBezTo>
                  <a:pt x="10889891" y="734507"/>
                  <a:pt x="10889891" y="734507"/>
                  <a:pt x="10889891" y="734507"/>
                </a:cubicBezTo>
                <a:cubicBezTo>
                  <a:pt x="10889891" y="727116"/>
                  <a:pt x="10889655" y="714209"/>
                  <a:pt x="10865261" y="714209"/>
                </a:cubicBezTo>
                <a:close/>
                <a:moveTo>
                  <a:pt x="10777160" y="714209"/>
                </a:moveTo>
                <a:cubicBezTo>
                  <a:pt x="10771526" y="714209"/>
                  <a:pt x="10765773" y="715857"/>
                  <a:pt x="10761194" y="718788"/>
                </a:cubicBezTo>
                <a:cubicBezTo>
                  <a:pt x="10754148" y="723722"/>
                  <a:pt x="10749451" y="733106"/>
                  <a:pt x="10749451" y="747898"/>
                </a:cubicBezTo>
                <a:cubicBezTo>
                  <a:pt x="10749451" y="762572"/>
                  <a:pt x="10754148" y="771966"/>
                  <a:pt x="10761194" y="776890"/>
                </a:cubicBezTo>
                <a:cubicBezTo>
                  <a:pt x="10765536" y="779939"/>
                  <a:pt x="10771526" y="781350"/>
                  <a:pt x="10777160" y="781350"/>
                </a:cubicBezTo>
                <a:cubicBezTo>
                  <a:pt x="10782913" y="781350"/>
                  <a:pt x="10788666" y="779821"/>
                  <a:pt x="10793127" y="776890"/>
                </a:cubicBezTo>
                <a:cubicBezTo>
                  <a:pt x="10800291" y="771956"/>
                  <a:pt x="10804988" y="762572"/>
                  <a:pt x="10804988" y="747898"/>
                </a:cubicBezTo>
                <a:cubicBezTo>
                  <a:pt x="10804988" y="733106"/>
                  <a:pt x="10800291" y="723722"/>
                  <a:pt x="10793127" y="718788"/>
                </a:cubicBezTo>
                <a:cubicBezTo>
                  <a:pt x="10788903" y="715620"/>
                  <a:pt x="10782913" y="714209"/>
                  <a:pt x="10777160" y="714209"/>
                </a:cubicBezTo>
                <a:close/>
                <a:moveTo>
                  <a:pt x="10665376" y="714209"/>
                </a:moveTo>
                <a:cubicBezTo>
                  <a:pt x="10659742" y="714209"/>
                  <a:pt x="10653870" y="715857"/>
                  <a:pt x="10649410" y="718788"/>
                </a:cubicBezTo>
                <a:cubicBezTo>
                  <a:pt x="10642246" y="723722"/>
                  <a:pt x="10637549" y="733106"/>
                  <a:pt x="10637549" y="747898"/>
                </a:cubicBezTo>
                <a:cubicBezTo>
                  <a:pt x="10637549" y="762572"/>
                  <a:pt x="10642246" y="771966"/>
                  <a:pt x="10649410" y="776890"/>
                </a:cubicBezTo>
                <a:cubicBezTo>
                  <a:pt x="10653752" y="779939"/>
                  <a:pt x="10659623" y="781350"/>
                  <a:pt x="10665376" y="781350"/>
                </a:cubicBezTo>
                <a:cubicBezTo>
                  <a:pt x="10671129" y="781350"/>
                  <a:pt x="10676764" y="779821"/>
                  <a:pt x="10681343" y="776890"/>
                </a:cubicBezTo>
                <a:cubicBezTo>
                  <a:pt x="10688388" y="771956"/>
                  <a:pt x="10693086" y="762572"/>
                  <a:pt x="10693086" y="747898"/>
                </a:cubicBezTo>
                <a:cubicBezTo>
                  <a:pt x="10693086" y="733106"/>
                  <a:pt x="10688388" y="723722"/>
                  <a:pt x="10681343" y="718788"/>
                </a:cubicBezTo>
                <a:cubicBezTo>
                  <a:pt x="10676764" y="715620"/>
                  <a:pt x="10671129" y="714209"/>
                  <a:pt x="10665376" y="714209"/>
                </a:cubicBezTo>
                <a:close/>
                <a:moveTo>
                  <a:pt x="10603445" y="714209"/>
                </a:moveTo>
                <a:cubicBezTo>
                  <a:pt x="10594061" y="714209"/>
                  <a:pt x="10587844" y="716202"/>
                  <a:pt x="10584331" y="717258"/>
                </a:cubicBezTo>
                <a:cubicBezTo>
                  <a:pt x="10580226" y="718669"/>
                  <a:pt x="10578815" y="720189"/>
                  <a:pt x="10578815" y="722301"/>
                </a:cubicBezTo>
                <a:cubicBezTo>
                  <a:pt x="10578815" y="777216"/>
                  <a:pt x="10578815" y="777216"/>
                  <a:pt x="10578815" y="777216"/>
                </a:cubicBezTo>
                <a:cubicBezTo>
                  <a:pt x="10578815" y="779209"/>
                  <a:pt x="10579289" y="779446"/>
                  <a:pt x="10581045" y="779446"/>
                </a:cubicBezTo>
                <a:cubicBezTo>
                  <a:pt x="10587144" y="779446"/>
                  <a:pt x="10587144" y="779446"/>
                  <a:pt x="10587144" y="779446"/>
                </a:cubicBezTo>
                <a:cubicBezTo>
                  <a:pt x="10588900" y="779446"/>
                  <a:pt x="10589719" y="779209"/>
                  <a:pt x="10589719" y="776979"/>
                </a:cubicBezTo>
                <a:cubicBezTo>
                  <a:pt x="10589719" y="726406"/>
                  <a:pt x="10589719" y="726406"/>
                  <a:pt x="10589719" y="726406"/>
                </a:cubicBezTo>
                <a:cubicBezTo>
                  <a:pt x="10589719" y="723702"/>
                  <a:pt x="10594406" y="720889"/>
                  <a:pt x="10602972" y="720889"/>
                </a:cubicBezTo>
                <a:cubicBezTo>
                  <a:pt x="10617280" y="720889"/>
                  <a:pt x="10617280" y="730156"/>
                  <a:pt x="10617280" y="735908"/>
                </a:cubicBezTo>
                <a:cubicBezTo>
                  <a:pt x="10617280" y="776979"/>
                  <a:pt x="10617280" y="776979"/>
                  <a:pt x="10617280" y="776979"/>
                </a:cubicBezTo>
                <a:cubicBezTo>
                  <a:pt x="10617280" y="779209"/>
                  <a:pt x="10617981" y="779446"/>
                  <a:pt x="10620093" y="779446"/>
                </a:cubicBezTo>
                <a:cubicBezTo>
                  <a:pt x="10626891" y="779446"/>
                  <a:pt x="10626891" y="779446"/>
                  <a:pt x="10626891" y="779446"/>
                </a:cubicBezTo>
                <a:cubicBezTo>
                  <a:pt x="10628076" y="779219"/>
                  <a:pt x="10628194" y="778044"/>
                  <a:pt x="10628194" y="776989"/>
                </a:cubicBezTo>
                <a:cubicBezTo>
                  <a:pt x="10628194" y="734507"/>
                  <a:pt x="10628194" y="734507"/>
                  <a:pt x="10628194" y="734507"/>
                </a:cubicBezTo>
                <a:cubicBezTo>
                  <a:pt x="10628194" y="727116"/>
                  <a:pt x="10628076" y="714209"/>
                  <a:pt x="10603445" y="714209"/>
                </a:cubicBezTo>
                <a:close/>
                <a:moveTo>
                  <a:pt x="11043821" y="692884"/>
                </a:moveTo>
                <a:cubicBezTo>
                  <a:pt x="11041719" y="692884"/>
                  <a:pt x="11041601" y="693585"/>
                  <a:pt x="11041601" y="695697"/>
                </a:cubicBezTo>
                <a:cubicBezTo>
                  <a:pt x="11041601" y="717988"/>
                  <a:pt x="11041601" y="717988"/>
                  <a:pt x="11041601" y="717988"/>
                </a:cubicBezTo>
                <a:cubicBezTo>
                  <a:pt x="11037742" y="715995"/>
                  <a:pt x="11034002" y="714584"/>
                  <a:pt x="11028279" y="714584"/>
                </a:cubicBezTo>
                <a:cubicBezTo>
                  <a:pt x="11009234" y="714584"/>
                  <a:pt x="10999534" y="732770"/>
                  <a:pt x="10999534" y="747898"/>
                </a:cubicBezTo>
                <a:cubicBezTo>
                  <a:pt x="10999534" y="770426"/>
                  <a:pt x="11011800" y="781330"/>
                  <a:pt x="11030499" y="781330"/>
                </a:cubicBezTo>
                <a:cubicBezTo>
                  <a:pt x="11039499" y="781350"/>
                  <a:pt x="11052238" y="776890"/>
                  <a:pt x="11052238" y="772666"/>
                </a:cubicBezTo>
                <a:cubicBezTo>
                  <a:pt x="11052238" y="695351"/>
                  <a:pt x="11052238" y="695351"/>
                  <a:pt x="11052238" y="695351"/>
                </a:cubicBezTo>
                <a:cubicBezTo>
                  <a:pt x="11052238" y="693003"/>
                  <a:pt x="11051538" y="692884"/>
                  <a:pt x="11049900" y="692884"/>
                </a:cubicBezTo>
                <a:cubicBezTo>
                  <a:pt x="11043821" y="692884"/>
                  <a:pt x="11043821" y="692884"/>
                  <a:pt x="11043821" y="692884"/>
                </a:cubicBezTo>
                <a:close/>
                <a:moveTo>
                  <a:pt x="11140329" y="692657"/>
                </a:moveTo>
                <a:cubicBezTo>
                  <a:pt x="11139037" y="692657"/>
                  <a:pt x="11138326" y="692894"/>
                  <a:pt x="11138326" y="694651"/>
                </a:cubicBezTo>
                <a:cubicBezTo>
                  <a:pt x="11138326" y="777462"/>
                  <a:pt x="11138326" y="777462"/>
                  <a:pt x="11138326" y="777462"/>
                </a:cubicBezTo>
                <a:cubicBezTo>
                  <a:pt x="11138326" y="779100"/>
                  <a:pt x="11138681" y="779337"/>
                  <a:pt x="11140329" y="779337"/>
                </a:cubicBezTo>
                <a:cubicBezTo>
                  <a:pt x="11146793" y="779337"/>
                  <a:pt x="11146793" y="779337"/>
                  <a:pt x="11146793" y="779337"/>
                </a:cubicBezTo>
                <a:cubicBezTo>
                  <a:pt x="11148312" y="779337"/>
                  <a:pt x="11149023" y="779337"/>
                  <a:pt x="11149023" y="777581"/>
                </a:cubicBezTo>
                <a:cubicBezTo>
                  <a:pt x="11149023" y="694414"/>
                  <a:pt x="11149023" y="694414"/>
                  <a:pt x="11149023" y="694414"/>
                </a:cubicBezTo>
                <a:cubicBezTo>
                  <a:pt x="11149023" y="692657"/>
                  <a:pt x="11148204" y="692657"/>
                  <a:pt x="11146793" y="692657"/>
                </a:cubicBezTo>
                <a:cubicBezTo>
                  <a:pt x="11140329" y="692657"/>
                  <a:pt x="11140329" y="692657"/>
                  <a:pt x="11140329" y="692657"/>
                </a:cubicBezTo>
                <a:close/>
                <a:moveTo>
                  <a:pt x="11072487" y="691947"/>
                </a:moveTo>
                <a:cubicBezTo>
                  <a:pt x="11068530" y="691947"/>
                  <a:pt x="11065738" y="694759"/>
                  <a:pt x="11065738" y="698499"/>
                </a:cubicBezTo>
                <a:cubicBezTo>
                  <a:pt x="11065738" y="702012"/>
                  <a:pt x="11068185" y="704933"/>
                  <a:pt x="11072251" y="704933"/>
                </a:cubicBezTo>
                <a:cubicBezTo>
                  <a:pt x="11076435" y="704815"/>
                  <a:pt x="11079000" y="701539"/>
                  <a:pt x="11078882" y="698035"/>
                </a:cubicBezTo>
                <a:cubicBezTo>
                  <a:pt x="11078645" y="694404"/>
                  <a:pt x="11075744" y="691947"/>
                  <a:pt x="11072487" y="691947"/>
                </a:cubicBezTo>
                <a:close/>
                <a:moveTo>
                  <a:pt x="11202724" y="682641"/>
                </a:moveTo>
                <a:lnTo>
                  <a:pt x="11202964" y="682818"/>
                </a:lnTo>
                <a:lnTo>
                  <a:pt x="11202724" y="682878"/>
                </a:lnTo>
                <a:cubicBezTo>
                  <a:pt x="11202724" y="682878"/>
                  <a:pt x="11202724" y="682878"/>
                  <a:pt x="11202724" y="682641"/>
                </a:cubicBezTo>
                <a:close/>
                <a:moveTo>
                  <a:pt x="11195580" y="674076"/>
                </a:moveTo>
                <a:cubicBezTo>
                  <a:pt x="11199438" y="674076"/>
                  <a:pt x="11199438" y="674076"/>
                  <a:pt x="11199438" y="674076"/>
                </a:cubicBezTo>
                <a:cubicBezTo>
                  <a:pt x="11201431" y="674076"/>
                  <a:pt x="11204708" y="674076"/>
                  <a:pt x="11204708" y="677244"/>
                </a:cubicBezTo>
                <a:cubicBezTo>
                  <a:pt x="11204708" y="680411"/>
                  <a:pt x="11201313" y="680411"/>
                  <a:pt x="11199793" y="680411"/>
                </a:cubicBezTo>
                <a:cubicBezTo>
                  <a:pt x="11195580" y="680411"/>
                  <a:pt x="11195580" y="680411"/>
                  <a:pt x="11195580" y="680411"/>
                </a:cubicBezTo>
                <a:close/>
                <a:moveTo>
                  <a:pt x="11192304" y="671135"/>
                </a:moveTo>
                <a:lnTo>
                  <a:pt x="11192304" y="692381"/>
                </a:lnTo>
                <a:cubicBezTo>
                  <a:pt x="11195817" y="692381"/>
                  <a:pt x="11195817" y="692381"/>
                  <a:pt x="11195817" y="692381"/>
                </a:cubicBezTo>
                <a:cubicBezTo>
                  <a:pt x="11195817" y="683342"/>
                  <a:pt x="11195817" y="683342"/>
                  <a:pt x="11195817" y="683342"/>
                </a:cubicBezTo>
                <a:cubicBezTo>
                  <a:pt x="11197810" y="683342"/>
                  <a:pt x="11197810" y="683342"/>
                  <a:pt x="11197810" y="683342"/>
                </a:cubicBezTo>
                <a:cubicBezTo>
                  <a:pt x="11200622" y="683342"/>
                  <a:pt x="11201668" y="684398"/>
                  <a:pt x="11204125" y="688977"/>
                </a:cubicBezTo>
                <a:cubicBezTo>
                  <a:pt x="11206000" y="692263"/>
                  <a:pt x="11206000" y="692263"/>
                  <a:pt x="11206000" y="692263"/>
                </a:cubicBezTo>
                <a:cubicBezTo>
                  <a:pt x="11210095" y="692263"/>
                  <a:pt x="11210095" y="692263"/>
                  <a:pt x="11210095" y="692263"/>
                </a:cubicBezTo>
                <a:cubicBezTo>
                  <a:pt x="11207520" y="688039"/>
                  <a:pt x="11207520" y="688039"/>
                  <a:pt x="11207520" y="688039"/>
                </a:cubicBezTo>
                <a:cubicBezTo>
                  <a:pt x="11206232" y="685987"/>
                  <a:pt x="11205324" y="684783"/>
                  <a:pt x="11204593" y="684019"/>
                </a:cubicBezTo>
                <a:lnTo>
                  <a:pt x="11202964" y="682818"/>
                </a:lnTo>
                <a:lnTo>
                  <a:pt x="11205485" y="682189"/>
                </a:lnTo>
                <a:cubicBezTo>
                  <a:pt x="11207773" y="681050"/>
                  <a:pt x="11208694" y="678739"/>
                  <a:pt x="11208694" y="676888"/>
                </a:cubicBezTo>
                <a:cubicBezTo>
                  <a:pt x="11208694" y="675132"/>
                  <a:pt x="11207875" y="673602"/>
                  <a:pt x="11206701" y="672783"/>
                </a:cubicBezTo>
                <a:cubicBezTo>
                  <a:pt x="11204945" y="671135"/>
                  <a:pt x="11202142" y="671135"/>
                  <a:pt x="11199793" y="671135"/>
                </a:cubicBezTo>
                <a:cubicBezTo>
                  <a:pt x="11192304" y="671135"/>
                  <a:pt x="11192304" y="671135"/>
                  <a:pt x="11192304" y="671135"/>
                </a:cubicBezTo>
                <a:close/>
                <a:moveTo>
                  <a:pt x="11200613" y="665274"/>
                </a:moveTo>
                <a:cubicBezTo>
                  <a:pt x="11209622" y="665274"/>
                  <a:pt x="11216993" y="672547"/>
                  <a:pt x="11216993" y="681585"/>
                </a:cubicBezTo>
                <a:cubicBezTo>
                  <a:pt x="11216993" y="690624"/>
                  <a:pt x="11209740" y="698134"/>
                  <a:pt x="11200613" y="698134"/>
                </a:cubicBezTo>
                <a:cubicBezTo>
                  <a:pt x="11191603" y="698134"/>
                  <a:pt x="11184350" y="690624"/>
                  <a:pt x="11184350" y="681585"/>
                </a:cubicBezTo>
                <a:cubicBezTo>
                  <a:pt x="11184232" y="672547"/>
                  <a:pt x="11191485" y="665274"/>
                  <a:pt x="11200613" y="665274"/>
                </a:cubicBezTo>
                <a:close/>
                <a:moveTo>
                  <a:pt x="11200613" y="661869"/>
                </a:moveTo>
                <a:cubicBezTo>
                  <a:pt x="11189847" y="661869"/>
                  <a:pt x="11181074" y="670672"/>
                  <a:pt x="11181074" y="681585"/>
                </a:cubicBezTo>
                <a:cubicBezTo>
                  <a:pt x="11181074" y="692618"/>
                  <a:pt x="11189847" y="701302"/>
                  <a:pt x="11200613" y="701302"/>
                </a:cubicBezTo>
                <a:cubicBezTo>
                  <a:pt x="11211497" y="701302"/>
                  <a:pt x="11220151" y="692381"/>
                  <a:pt x="11220151" y="681585"/>
                </a:cubicBezTo>
                <a:cubicBezTo>
                  <a:pt x="11220151" y="670790"/>
                  <a:pt x="11211378" y="661869"/>
                  <a:pt x="11200613" y="661869"/>
                </a:cubicBezTo>
                <a:close/>
                <a:moveTo>
                  <a:pt x="11005508" y="533974"/>
                </a:moveTo>
                <a:cubicBezTo>
                  <a:pt x="11006049" y="533930"/>
                  <a:pt x="11006693" y="534194"/>
                  <a:pt x="11007162" y="534722"/>
                </a:cubicBezTo>
                <a:cubicBezTo>
                  <a:pt x="11014316" y="542221"/>
                  <a:pt x="11011859" y="598843"/>
                  <a:pt x="11010329" y="610093"/>
                </a:cubicBezTo>
                <a:cubicBezTo>
                  <a:pt x="11009974" y="612905"/>
                  <a:pt x="11007399" y="615135"/>
                  <a:pt x="11006698" y="609392"/>
                </a:cubicBezTo>
                <a:cubicBezTo>
                  <a:pt x="11005879" y="602129"/>
                  <a:pt x="11002011" y="585364"/>
                  <a:pt x="11000836" y="578446"/>
                </a:cubicBezTo>
                <a:cubicBezTo>
                  <a:pt x="10999544" y="571884"/>
                  <a:pt x="11003185" y="551842"/>
                  <a:pt x="11004468" y="535077"/>
                </a:cubicBezTo>
                <a:cubicBezTo>
                  <a:pt x="11004527" y="534371"/>
                  <a:pt x="11004966" y="534018"/>
                  <a:pt x="11005508" y="533974"/>
                </a:cubicBezTo>
                <a:close/>
                <a:moveTo>
                  <a:pt x="10869475" y="489122"/>
                </a:moveTo>
                <a:cubicBezTo>
                  <a:pt x="10887543" y="491589"/>
                  <a:pt x="10905838" y="492053"/>
                  <a:pt x="10923778" y="490997"/>
                </a:cubicBezTo>
                <a:cubicBezTo>
                  <a:pt x="10926709" y="502128"/>
                  <a:pt x="10926353" y="516663"/>
                  <a:pt x="10922248" y="520768"/>
                </a:cubicBezTo>
                <a:cubicBezTo>
                  <a:pt x="10915676" y="527449"/>
                  <a:pt x="10886013" y="526156"/>
                  <a:pt x="10877566" y="524873"/>
                </a:cubicBezTo>
                <a:cubicBezTo>
                  <a:pt x="10875218" y="524518"/>
                  <a:pt x="10872879" y="524173"/>
                  <a:pt x="10871586" y="518074"/>
                </a:cubicBezTo>
                <a:cubicBezTo>
                  <a:pt x="10870175" y="510920"/>
                  <a:pt x="10870057" y="497796"/>
                  <a:pt x="10869475" y="489122"/>
                </a:cubicBezTo>
                <a:close/>
                <a:moveTo>
                  <a:pt x="10964236" y="486191"/>
                </a:moveTo>
                <a:cubicBezTo>
                  <a:pt x="10969279" y="495566"/>
                  <a:pt x="10969634" y="500963"/>
                  <a:pt x="10968223" y="505651"/>
                </a:cubicBezTo>
                <a:cubicBezTo>
                  <a:pt x="10966812" y="510338"/>
                  <a:pt x="10960250" y="513032"/>
                  <a:pt x="10958839" y="512450"/>
                </a:cubicBezTo>
                <a:cubicBezTo>
                  <a:pt x="10958602" y="502365"/>
                  <a:pt x="10955908" y="494746"/>
                  <a:pt x="10951211" y="487948"/>
                </a:cubicBezTo>
                <a:cubicBezTo>
                  <a:pt x="10955326" y="487247"/>
                  <a:pt x="10959667" y="486665"/>
                  <a:pt x="10964236" y="486191"/>
                </a:cubicBezTo>
                <a:close/>
                <a:moveTo>
                  <a:pt x="10824447" y="479402"/>
                </a:moveTo>
                <a:cubicBezTo>
                  <a:pt x="10830190" y="481158"/>
                  <a:pt x="10836062" y="482688"/>
                  <a:pt x="10841805" y="484089"/>
                </a:cubicBezTo>
                <a:cubicBezTo>
                  <a:pt x="10837818" y="509292"/>
                  <a:pt x="10829964" y="516436"/>
                  <a:pt x="10825858" y="518084"/>
                </a:cubicBezTo>
                <a:cubicBezTo>
                  <a:pt x="10822681" y="519367"/>
                  <a:pt x="10815764" y="520068"/>
                  <a:pt x="10818231" y="512104"/>
                </a:cubicBezTo>
                <a:cubicBezTo>
                  <a:pt x="10820697" y="504131"/>
                  <a:pt x="10823036" y="490533"/>
                  <a:pt x="10824447" y="479402"/>
                </a:cubicBezTo>
                <a:close/>
                <a:moveTo>
                  <a:pt x="10804360" y="472972"/>
                </a:moveTo>
                <a:cubicBezTo>
                  <a:pt x="10806340" y="473104"/>
                  <a:pt x="10809448" y="474305"/>
                  <a:pt x="10815428" y="476590"/>
                </a:cubicBezTo>
                <a:cubicBezTo>
                  <a:pt x="10814609" y="495931"/>
                  <a:pt x="10809685" y="506953"/>
                  <a:pt x="10807800" y="516791"/>
                </a:cubicBezTo>
                <a:cubicBezTo>
                  <a:pt x="10805688" y="526877"/>
                  <a:pt x="10816948" y="529215"/>
                  <a:pt x="10826914" y="526758"/>
                </a:cubicBezTo>
                <a:cubicBezTo>
                  <a:pt x="10836762" y="524301"/>
                  <a:pt x="10846147" y="513979"/>
                  <a:pt x="10850252" y="485964"/>
                </a:cubicBezTo>
                <a:cubicBezTo>
                  <a:pt x="10854120" y="486902"/>
                  <a:pt x="10857288" y="487375"/>
                  <a:pt x="10861274" y="487957"/>
                </a:cubicBezTo>
                <a:cubicBezTo>
                  <a:pt x="10861748" y="517028"/>
                  <a:pt x="10863504" y="523591"/>
                  <a:pt x="10864679" y="526166"/>
                </a:cubicBezTo>
                <a:cubicBezTo>
                  <a:pt x="10866909" y="531554"/>
                  <a:pt x="10872307" y="533320"/>
                  <a:pt x="10876639" y="533666"/>
                </a:cubicBezTo>
                <a:cubicBezTo>
                  <a:pt x="10899394" y="535422"/>
                  <a:pt x="10921439" y="534722"/>
                  <a:pt x="10929176" y="527103"/>
                </a:cubicBezTo>
                <a:cubicBezTo>
                  <a:pt x="10937030" y="519367"/>
                  <a:pt x="10934337" y="500500"/>
                  <a:pt x="10932106" y="490296"/>
                </a:cubicBezTo>
                <a:cubicBezTo>
                  <a:pt x="10935738" y="489941"/>
                  <a:pt x="10938678" y="489595"/>
                  <a:pt x="10942191" y="489122"/>
                </a:cubicBezTo>
                <a:cubicBezTo>
                  <a:pt x="10949701" y="497796"/>
                  <a:pt x="10950638" y="507289"/>
                  <a:pt x="10950638" y="513269"/>
                </a:cubicBezTo>
                <a:cubicBezTo>
                  <a:pt x="10950638" y="519949"/>
                  <a:pt x="10958029" y="523462"/>
                  <a:pt x="10968351" y="516318"/>
                </a:cubicBezTo>
                <a:cubicBezTo>
                  <a:pt x="10978555" y="509164"/>
                  <a:pt x="10977617" y="496622"/>
                  <a:pt x="10971983" y="485254"/>
                </a:cubicBezTo>
                <a:cubicBezTo>
                  <a:pt x="10995439" y="483379"/>
                  <a:pt x="10994264" y="498733"/>
                  <a:pt x="10992972" y="517729"/>
                </a:cubicBezTo>
                <a:cubicBezTo>
                  <a:pt x="10991797" y="536488"/>
                  <a:pt x="10987574" y="563092"/>
                  <a:pt x="10981249" y="566141"/>
                </a:cubicBezTo>
                <a:cubicBezTo>
                  <a:pt x="10974795" y="568835"/>
                  <a:pt x="10964710" y="551605"/>
                  <a:pt x="10912173" y="550786"/>
                </a:cubicBezTo>
                <a:cubicBezTo>
                  <a:pt x="10874882" y="550086"/>
                  <a:pt x="10846265" y="555128"/>
                  <a:pt x="10840986" y="589232"/>
                </a:cubicBezTo>
                <a:cubicBezTo>
                  <a:pt x="10840631" y="591689"/>
                  <a:pt x="10839229" y="591344"/>
                  <a:pt x="10837937" y="590051"/>
                </a:cubicBezTo>
                <a:cubicBezTo>
                  <a:pt x="10827733" y="578920"/>
                  <a:pt x="10818349" y="573877"/>
                  <a:pt x="10803340" y="565203"/>
                </a:cubicBezTo>
                <a:cubicBezTo>
                  <a:pt x="10788212" y="556293"/>
                  <a:pt x="10778127" y="544343"/>
                  <a:pt x="10776252" y="532501"/>
                </a:cubicBezTo>
                <a:cubicBezTo>
                  <a:pt x="10774377" y="520660"/>
                  <a:pt x="10778719" y="504841"/>
                  <a:pt x="10800064" y="475771"/>
                </a:cubicBezTo>
                <a:cubicBezTo>
                  <a:pt x="10801529" y="473777"/>
                  <a:pt x="10802380" y="472840"/>
                  <a:pt x="10804360" y="472972"/>
                </a:cubicBezTo>
                <a:close/>
                <a:moveTo>
                  <a:pt x="10748327" y="459672"/>
                </a:moveTo>
                <a:cubicBezTo>
                  <a:pt x="10743049" y="459627"/>
                  <a:pt x="10733658" y="462079"/>
                  <a:pt x="10737432" y="467422"/>
                </a:cubicBezTo>
                <a:cubicBezTo>
                  <a:pt x="10742465" y="474774"/>
                  <a:pt x="10752412" y="462636"/>
                  <a:pt x="10751592" y="460535"/>
                </a:cubicBezTo>
                <a:cubicBezTo>
                  <a:pt x="10751388" y="459980"/>
                  <a:pt x="10750086" y="459687"/>
                  <a:pt x="10748327" y="459672"/>
                </a:cubicBezTo>
                <a:close/>
                <a:moveTo>
                  <a:pt x="10744927" y="444943"/>
                </a:moveTo>
                <a:cubicBezTo>
                  <a:pt x="10749286" y="444037"/>
                  <a:pt x="10755046" y="447136"/>
                  <a:pt x="10767805" y="454782"/>
                </a:cubicBezTo>
                <a:cubicBezTo>
                  <a:pt x="10788449" y="467324"/>
                  <a:pt x="10794784" y="464748"/>
                  <a:pt x="10787739" y="475879"/>
                </a:cubicBezTo>
                <a:cubicBezTo>
                  <a:pt x="10783397" y="483033"/>
                  <a:pt x="10768733" y="502019"/>
                  <a:pt x="10765102" y="525347"/>
                </a:cubicBezTo>
                <a:cubicBezTo>
                  <a:pt x="10760178" y="518785"/>
                  <a:pt x="10753487" y="502493"/>
                  <a:pt x="10747862" y="498033"/>
                </a:cubicBezTo>
                <a:cubicBezTo>
                  <a:pt x="10736840" y="489359"/>
                  <a:pt x="10727337" y="496039"/>
                  <a:pt x="10723232" y="490997"/>
                </a:cubicBezTo>
                <a:cubicBezTo>
                  <a:pt x="10718653" y="485490"/>
                  <a:pt x="10716778" y="485135"/>
                  <a:pt x="10720883" y="479866"/>
                </a:cubicBezTo>
                <a:cubicBezTo>
                  <a:pt x="10720883" y="479866"/>
                  <a:pt x="10725808" y="473422"/>
                  <a:pt x="10727682" y="470718"/>
                </a:cubicBezTo>
                <a:cubicBezTo>
                  <a:pt x="10729794" y="467906"/>
                  <a:pt x="10729212" y="462627"/>
                  <a:pt x="10730149" y="460406"/>
                </a:cubicBezTo>
                <a:cubicBezTo>
                  <a:pt x="10730968" y="458176"/>
                  <a:pt x="10736011" y="451496"/>
                  <a:pt x="10740826" y="447164"/>
                </a:cubicBezTo>
                <a:cubicBezTo>
                  <a:pt x="10742176" y="445992"/>
                  <a:pt x="10743474" y="445245"/>
                  <a:pt x="10744927" y="444943"/>
                </a:cubicBezTo>
                <a:close/>
                <a:moveTo>
                  <a:pt x="10717097" y="389363"/>
                </a:moveTo>
                <a:cubicBezTo>
                  <a:pt x="10716100" y="389570"/>
                  <a:pt x="10715367" y="391563"/>
                  <a:pt x="10715367" y="395841"/>
                </a:cubicBezTo>
                <a:cubicBezTo>
                  <a:pt x="10715367" y="417293"/>
                  <a:pt x="10724752" y="430181"/>
                  <a:pt x="10728038" y="433822"/>
                </a:cubicBezTo>
                <a:cubicBezTo>
                  <a:pt x="10731205" y="437453"/>
                  <a:pt x="10732725" y="441085"/>
                  <a:pt x="10730968" y="443197"/>
                </a:cubicBezTo>
                <a:cubicBezTo>
                  <a:pt x="10726281" y="448703"/>
                  <a:pt x="10721239" y="454801"/>
                  <a:pt x="10721120" y="457258"/>
                </a:cubicBezTo>
                <a:cubicBezTo>
                  <a:pt x="10720883" y="459952"/>
                  <a:pt x="10721120" y="461245"/>
                  <a:pt x="10720064" y="464294"/>
                </a:cubicBezTo>
                <a:cubicBezTo>
                  <a:pt x="10719009" y="467225"/>
                  <a:pt x="10715259" y="471557"/>
                  <a:pt x="10709279" y="478830"/>
                </a:cubicBezTo>
                <a:cubicBezTo>
                  <a:pt x="10705993" y="483053"/>
                  <a:pt x="10708105" y="487622"/>
                  <a:pt x="10710917" y="490671"/>
                </a:cubicBezTo>
                <a:cubicBezTo>
                  <a:pt x="10714203" y="494421"/>
                  <a:pt x="10716433" y="498763"/>
                  <a:pt x="10720538" y="500638"/>
                </a:cubicBezTo>
                <a:cubicBezTo>
                  <a:pt x="10724762" y="502513"/>
                  <a:pt x="10728511" y="501220"/>
                  <a:pt x="10733435" y="502049"/>
                </a:cubicBezTo>
                <a:cubicBezTo>
                  <a:pt x="10738123" y="502868"/>
                  <a:pt x="10743994" y="505680"/>
                  <a:pt x="10748681" y="514009"/>
                </a:cubicBezTo>
                <a:cubicBezTo>
                  <a:pt x="10755480" y="526196"/>
                  <a:pt x="10762753" y="545191"/>
                  <a:pt x="10775887" y="560891"/>
                </a:cubicBezTo>
                <a:cubicBezTo>
                  <a:pt x="10781749" y="567809"/>
                  <a:pt x="10781749" y="580588"/>
                  <a:pt x="10781749" y="584683"/>
                </a:cubicBezTo>
                <a:cubicBezTo>
                  <a:pt x="10782104" y="621490"/>
                  <a:pt x="10762871" y="656304"/>
                  <a:pt x="10750556" y="678457"/>
                </a:cubicBezTo>
                <a:cubicBezTo>
                  <a:pt x="10747626" y="683618"/>
                  <a:pt x="10748326" y="687950"/>
                  <a:pt x="10752194" y="687950"/>
                </a:cubicBezTo>
                <a:cubicBezTo>
                  <a:pt x="10756655" y="687950"/>
                  <a:pt x="10773302" y="687950"/>
                  <a:pt x="10776124" y="687950"/>
                </a:cubicBezTo>
                <a:cubicBezTo>
                  <a:pt x="10779173" y="687950"/>
                  <a:pt x="10781048" y="684664"/>
                  <a:pt x="10781285" y="681151"/>
                </a:cubicBezTo>
                <a:cubicBezTo>
                  <a:pt x="10783397" y="651025"/>
                  <a:pt x="10800399" y="595814"/>
                  <a:pt x="10813188" y="586439"/>
                </a:cubicBezTo>
                <a:cubicBezTo>
                  <a:pt x="10834651" y="599919"/>
                  <a:pt x="10855995" y="628753"/>
                  <a:pt x="10845555" y="679276"/>
                </a:cubicBezTo>
                <a:cubicBezTo>
                  <a:pt x="10845081" y="682089"/>
                  <a:pt x="10842506" y="688187"/>
                  <a:pt x="10848959" y="688187"/>
                </a:cubicBezTo>
                <a:cubicBezTo>
                  <a:pt x="10848959" y="688187"/>
                  <a:pt x="10867136" y="688187"/>
                  <a:pt x="10869485" y="688187"/>
                </a:cubicBezTo>
                <a:cubicBezTo>
                  <a:pt x="10872178" y="688187"/>
                  <a:pt x="10876520" y="687131"/>
                  <a:pt x="10876165" y="682207"/>
                </a:cubicBezTo>
                <a:cubicBezTo>
                  <a:pt x="10875109" y="662511"/>
                  <a:pt x="10858571" y="620908"/>
                  <a:pt x="10854239" y="596406"/>
                </a:cubicBezTo>
                <a:cubicBezTo>
                  <a:pt x="10851545" y="580933"/>
                  <a:pt x="10863860" y="553273"/>
                  <a:pt x="10910298" y="574489"/>
                </a:cubicBezTo>
                <a:cubicBezTo>
                  <a:pt x="10928129" y="558434"/>
                  <a:pt x="10951586" y="568164"/>
                  <a:pt x="10941491" y="598991"/>
                </a:cubicBezTo>
                <a:cubicBezTo>
                  <a:pt x="10931643" y="629700"/>
                  <a:pt x="10923077" y="643180"/>
                  <a:pt x="10889299" y="679286"/>
                </a:cubicBezTo>
                <a:cubicBezTo>
                  <a:pt x="10885549" y="683510"/>
                  <a:pt x="10885194" y="687960"/>
                  <a:pt x="10891411" y="687960"/>
                </a:cubicBezTo>
                <a:cubicBezTo>
                  <a:pt x="10894460" y="687960"/>
                  <a:pt x="10909943" y="687960"/>
                  <a:pt x="10913111" y="687960"/>
                </a:cubicBezTo>
                <a:cubicBezTo>
                  <a:pt x="10917798" y="687960"/>
                  <a:pt x="10919683" y="686549"/>
                  <a:pt x="10921084" y="682918"/>
                </a:cubicBezTo>
                <a:cubicBezTo>
                  <a:pt x="10922377" y="679049"/>
                  <a:pt x="10937859" y="630055"/>
                  <a:pt x="10968233" y="607083"/>
                </a:cubicBezTo>
                <a:cubicBezTo>
                  <a:pt x="10970581" y="605326"/>
                  <a:pt x="10972575" y="597471"/>
                  <a:pt x="10977262" y="579541"/>
                </a:cubicBezTo>
                <a:cubicBezTo>
                  <a:pt x="10991926" y="598883"/>
                  <a:pt x="10993919" y="634042"/>
                  <a:pt x="10968697" y="679405"/>
                </a:cubicBezTo>
                <a:cubicBezTo>
                  <a:pt x="10966121" y="684211"/>
                  <a:pt x="10967641" y="687842"/>
                  <a:pt x="10970808" y="687842"/>
                </a:cubicBezTo>
                <a:cubicBezTo>
                  <a:pt x="10972565" y="687842"/>
                  <a:pt x="10986291" y="687842"/>
                  <a:pt x="10990396" y="687842"/>
                </a:cubicBezTo>
                <a:cubicBezTo>
                  <a:pt x="10994028" y="687842"/>
                  <a:pt x="10995083" y="685848"/>
                  <a:pt x="10996495" y="680342"/>
                </a:cubicBezTo>
                <a:cubicBezTo>
                  <a:pt x="10998251" y="673543"/>
                  <a:pt x="10998843" y="670257"/>
                  <a:pt x="11001182" y="663813"/>
                </a:cubicBezTo>
                <a:cubicBezTo>
                  <a:pt x="11002593" y="659827"/>
                  <a:pt x="11003175" y="659126"/>
                  <a:pt x="11018895" y="659245"/>
                </a:cubicBezTo>
                <a:cubicBezTo>
                  <a:pt x="11023819" y="659245"/>
                  <a:pt x="11023473" y="656669"/>
                  <a:pt x="11023473" y="652446"/>
                </a:cubicBezTo>
                <a:cubicBezTo>
                  <a:pt x="11023700" y="591689"/>
                  <a:pt x="11024056" y="528159"/>
                  <a:pt x="11019477" y="506361"/>
                </a:cubicBezTo>
                <a:cubicBezTo>
                  <a:pt x="11013142" y="475771"/>
                  <a:pt x="10986518" y="474833"/>
                  <a:pt x="10972565" y="475889"/>
                </a:cubicBezTo>
                <a:cubicBezTo>
                  <a:pt x="10958019" y="476945"/>
                  <a:pt x="10930577" y="481277"/>
                  <a:pt x="10902315" y="481277"/>
                </a:cubicBezTo>
                <a:cubicBezTo>
                  <a:pt x="10864195" y="481277"/>
                  <a:pt x="10821270" y="470491"/>
                  <a:pt x="10788439" y="455137"/>
                </a:cubicBezTo>
                <a:cubicBezTo>
                  <a:pt x="10782696" y="452561"/>
                  <a:pt x="10785627" y="451387"/>
                  <a:pt x="10788084" y="449976"/>
                </a:cubicBezTo>
                <a:cubicBezTo>
                  <a:pt x="10800399" y="443177"/>
                  <a:pt x="10811066" y="437078"/>
                  <a:pt x="10817638" y="426303"/>
                </a:cubicBezTo>
                <a:cubicBezTo>
                  <a:pt x="10822681" y="418103"/>
                  <a:pt x="10820806" y="415517"/>
                  <a:pt x="10815290" y="419977"/>
                </a:cubicBezTo>
                <a:cubicBezTo>
                  <a:pt x="10800399" y="432401"/>
                  <a:pt x="10779163" y="439319"/>
                  <a:pt x="10755480" y="430763"/>
                </a:cubicBezTo>
                <a:cubicBezTo>
                  <a:pt x="10731669" y="422326"/>
                  <a:pt x="10722522" y="399354"/>
                  <a:pt x="10720410" y="393610"/>
                </a:cubicBezTo>
                <a:cubicBezTo>
                  <a:pt x="10719354" y="390739"/>
                  <a:pt x="10718093" y="389158"/>
                  <a:pt x="10717097" y="389363"/>
                </a:cubicBezTo>
                <a:close/>
                <a:moveTo>
                  <a:pt x="10778798" y="335508"/>
                </a:moveTo>
                <a:cubicBezTo>
                  <a:pt x="10796501" y="335508"/>
                  <a:pt x="10810691" y="349915"/>
                  <a:pt x="10810691" y="367480"/>
                </a:cubicBezTo>
                <a:cubicBezTo>
                  <a:pt x="10810691" y="385163"/>
                  <a:pt x="10796501" y="399452"/>
                  <a:pt x="10778798" y="399452"/>
                </a:cubicBezTo>
                <a:cubicBezTo>
                  <a:pt x="10761095" y="399452"/>
                  <a:pt x="10746668" y="385163"/>
                  <a:pt x="10746668" y="367480"/>
                </a:cubicBezTo>
                <a:cubicBezTo>
                  <a:pt x="10746668" y="349688"/>
                  <a:pt x="10761095" y="335508"/>
                  <a:pt x="10778798" y="335508"/>
                </a:cubicBezTo>
                <a:close/>
                <a:moveTo>
                  <a:pt x="10777397" y="324150"/>
                </a:moveTo>
                <a:cubicBezTo>
                  <a:pt x="10750665" y="324150"/>
                  <a:pt x="10729202" y="345938"/>
                  <a:pt x="10729202" y="372523"/>
                </a:cubicBezTo>
                <a:cubicBezTo>
                  <a:pt x="10729202" y="399344"/>
                  <a:pt x="10750892" y="420895"/>
                  <a:pt x="10777397" y="420895"/>
                </a:cubicBezTo>
                <a:cubicBezTo>
                  <a:pt x="10804129" y="420895"/>
                  <a:pt x="10825592" y="399107"/>
                  <a:pt x="10825592" y="372523"/>
                </a:cubicBezTo>
                <a:cubicBezTo>
                  <a:pt x="10825592" y="345702"/>
                  <a:pt x="10804129" y="324150"/>
                  <a:pt x="10777397" y="324150"/>
                </a:cubicBezTo>
                <a:close/>
                <a:moveTo>
                  <a:pt x="0" y="0"/>
                </a:moveTo>
                <a:lnTo>
                  <a:pt x="11544301" y="0"/>
                </a:lnTo>
                <a:lnTo>
                  <a:pt x="11544301" y="6208713"/>
                </a:lnTo>
                <a:lnTo>
                  <a:pt x="0" y="6208713"/>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bg1"/>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852920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GB" sz="10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GB" sz="10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a:p>
        </p:txBody>
      </p:sp>
      <p:sp>
        <p:nvSpPr>
          <p:cNvPr id="3" name="Logo Apis Bull">
            <a:extLst>
              <a:ext uri="{FF2B5EF4-FFF2-40B4-BE49-F238E27FC236}">
                <a16:creationId xmlns:a16="http://schemas.microsoft.com/office/drawing/2014/main" id="{6855E099-63AE-6EEE-B50D-DF901577D054}"/>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2465072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GB" sz="10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GB" sz="10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a:p>
        </p:txBody>
      </p:sp>
      <p:sp>
        <p:nvSpPr>
          <p:cNvPr id="3" name="Logo Apis Bull">
            <a:extLst>
              <a:ext uri="{FF2B5EF4-FFF2-40B4-BE49-F238E27FC236}">
                <a16:creationId xmlns:a16="http://schemas.microsoft.com/office/drawing/2014/main" id="{779ACE5C-4522-B44B-D77F-E30D0EF6F3E8}"/>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06892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P TOC">
    <p:bg>
      <p:bgRef idx="1001">
        <a:schemeClr val="bg2"/>
      </p:bgRef>
    </p:bg>
    <p:spTree>
      <p:nvGrpSpPr>
        <p:cNvPr id="1" name=""/>
        <p:cNvGrpSpPr/>
        <p:nvPr/>
      </p:nvGrpSpPr>
      <p:grpSpPr>
        <a:xfrm>
          <a:off x="0" y="0"/>
          <a:ext cx="0" cy="0"/>
          <a:chOff x="0" y="0"/>
          <a:chExt cx="0" cy="0"/>
        </a:xfrm>
      </p:grpSpPr>
      <p:grpSp>
        <p:nvGrpSpPr>
          <p:cNvPr id="3" name="SP Agenda Section" hidden="1"/>
          <p:cNvGrpSpPr/>
          <p:nvPr userDrawn="1"/>
        </p:nvGrpSpPr>
        <p:grpSpPr>
          <a:xfrm>
            <a:off x="649875" y="2120400"/>
            <a:ext cx="8651288" cy="538934"/>
            <a:chOff x="648000" y="2120400"/>
            <a:chExt cx="8651287" cy="538934"/>
          </a:xfrm>
        </p:grpSpPr>
        <p:sp>
          <p:nvSpPr>
            <p:cNvPr id="20" name="Section Title"/>
            <p:cNvSpPr txBox="1">
              <a:spLocks/>
            </p:cNvSpPr>
            <p:nvPr userDrawn="1"/>
          </p:nvSpPr>
          <p:spPr>
            <a:xfrm>
              <a:off x="1116140" y="2120400"/>
              <a:ext cx="4994426" cy="262800"/>
            </a:xfrm>
            <a:prstGeom prst="rect">
              <a:avLst/>
            </a:prstGeom>
            <a:noFill/>
          </p:spPr>
          <p:txBody>
            <a:bodyPr wrap="square" lIns="0" tIns="0" rIns="0" bIns="0" rtlCol="0" anchor="ctr">
              <a:normAutofit/>
            </a:bodyPr>
            <a:lstStyle/>
            <a:p>
              <a:pPr defTabSz="9334267">
                <a:tabLst>
                  <a:tab pos="9512062" algn="l"/>
                </a:tabLst>
              </a:pPr>
              <a:r>
                <a:rPr lang="en-GB" sz="1200">
                  <a:solidFill>
                    <a:schemeClr val="tx1"/>
                  </a:solidFill>
                </a:rPr>
                <a:t>&lt;TEXT&gt;</a:t>
              </a:r>
            </a:p>
          </p:txBody>
        </p:sp>
        <p:sp>
          <p:nvSpPr>
            <p:cNvPr id="21" name="Section Number"/>
            <p:cNvSpPr txBox="1">
              <a:spLocks/>
            </p:cNvSpPr>
            <p:nvPr userDrawn="1"/>
          </p:nvSpPr>
          <p:spPr>
            <a:xfrm>
              <a:off x="648000" y="2120400"/>
              <a:ext cx="379556" cy="262800"/>
            </a:xfrm>
            <a:prstGeom prst="rect">
              <a:avLst/>
            </a:prstGeom>
            <a:noFill/>
          </p:spPr>
          <p:txBody>
            <a:bodyPr wrap="none" lIns="0" tIns="0" rIns="0" bIns="0" rtlCol="0" anchor="ctr">
              <a:noAutofit/>
            </a:bodyPr>
            <a:lstStyle/>
            <a:p>
              <a:pPr algn="l"/>
              <a:r>
                <a:rPr lang="en-GB" sz="1200" b="1">
                  <a:solidFill>
                    <a:schemeClr val="tx1"/>
                  </a:solidFill>
                </a:rPr>
                <a:t>&lt;N&gt;</a:t>
              </a:r>
            </a:p>
          </p:txBody>
        </p:sp>
        <p:sp>
          <p:nvSpPr>
            <p:cNvPr id="22" name="Slide Number"/>
            <p:cNvSpPr txBox="1">
              <a:spLocks/>
            </p:cNvSpPr>
            <p:nvPr userDrawn="1"/>
          </p:nvSpPr>
          <p:spPr>
            <a:xfrm>
              <a:off x="8662293" y="2120400"/>
              <a:ext cx="636994" cy="262800"/>
            </a:xfrm>
            <a:prstGeom prst="rect">
              <a:avLst/>
            </a:prstGeom>
            <a:noFill/>
          </p:spPr>
          <p:txBody>
            <a:bodyPr wrap="none" lIns="0" tIns="0" rIns="0" bIns="0" rtlCol="0" anchor="ctr">
              <a:noAutofit/>
            </a:bodyPr>
            <a:lstStyle/>
            <a:p>
              <a:pPr algn="r"/>
              <a:r>
                <a:rPr lang="en-GB" sz="1200">
                  <a:solidFill>
                    <a:schemeClr val="tx1"/>
                  </a:solidFill>
                </a:rPr>
                <a:t>&lt;P&gt;</a:t>
              </a:r>
            </a:p>
          </p:txBody>
        </p:sp>
        <p:sp>
          <p:nvSpPr>
            <p:cNvPr id="24" name="Timeslot"/>
            <p:cNvSpPr txBox="1">
              <a:spLocks/>
            </p:cNvSpPr>
            <p:nvPr userDrawn="1"/>
          </p:nvSpPr>
          <p:spPr>
            <a:xfrm>
              <a:off x="1116140" y="2396534"/>
              <a:ext cx="1257061" cy="262800"/>
            </a:xfrm>
            <a:prstGeom prst="rect">
              <a:avLst/>
            </a:prstGeom>
            <a:noFill/>
          </p:spPr>
          <p:txBody>
            <a:bodyPr wrap="none" lIns="0" tIns="0" rIns="0" bIns="0" rtlCol="0" anchor="ctr">
              <a:noAutofit/>
            </a:bodyPr>
            <a:lstStyle/>
            <a:p>
              <a:pPr algn="l"/>
              <a:r>
                <a:rPr lang="en-GB" sz="1000">
                  <a:solidFill>
                    <a:schemeClr val="tx1"/>
                  </a:solidFill>
                </a:rPr>
                <a:t>&lt;TIMESLOT&gt;</a:t>
              </a:r>
            </a:p>
          </p:txBody>
        </p:sp>
        <p:sp>
          <p:nvSpPr>
            <p:cNvPr id="28" name="Responsible"/>
            <p:cNvSpPr txBox="1">
              <a:spLocks/>
            </p:cNvSpPr>
            <p:nvPr userDrawn="1"/>
          </p:nvSpPr>
          <p:spPr>
            <a:xfrm>
              <a:off x="3421771" y="2396534"/>
              <a:ext cx="1388067" cy="262800"/>
            </a:xfrm>
            <a:prstGeom prst="rect">
              <a:avLst/>
            </a:prstGeom>
            <a:noFill/>
          </p:spPr>
          <p:txBody>
            <a:bodyPr wrap="none" lIns="0" tIns="0" rIns="0" bIns="0" rtlCol="0" anchor="ctr">
              <a:noAutofit/>
            </a:bodyPr>
            <a:lstStyle/>
            <a:p>
              <a:pPr algn="l"/>
              <a:r>
                <a:rPr lang="en-GB" sz="1000">
                  <a:solidFill>
                    <a:schemeClr val="tx1"/>
                  </a:solidFill>
                </a:rPr>
                <a:t>&lt;RESPONSIBLE&gt;</a:t>
              </a:r>
            </a:p>
          </p:txBody>
        </p:sp>
        <p:sp>
          <p:nvSpPr>
            <p:cNvPr id="29" name="Duration"/>
            <p:cNvSpPr txBox="1">
              <a:spLocks/>
            </p:cNvSpPr>
            <p:nvPr userDrawn="1"/>
          </p:nvSpPr>
          <p:spPr>
            <a:xfrm>
              <a:off x="6204648" y="2396534"/>
              <a:ext cx="684723" cy="262800"/>
            </a:xfrm>
            <a:prstGeom prst="rect">
              <a:avLst/>
            </a:prstGeom>
            <a:noFill/>
          </p:spPr>
          <p:txBody>
            <a:bodyPr wrap="none" lIns="0" tIns="0" rIns="0" bIns="0" rtlCol="0" anchor="ctr">
              <a:noAutofit/>
            </a:bodyPr>
            <a:lstStyle/>
            <a:p>
              <a:pPr algn="l"/>
              <a:r>
                <a:rPr lang="en-GB" sz="1000">
                  <a:solidFill>
                    <a:schemeClr val="tx1"/>
                  </a:solidFill>
                </a:rPr>
                <a:t>&lt;DURATION&gt;</a:t>
              </a:r>
            </a:p>
          </p:txBody>
        </p:sp>
      </p:grpSp>
      <p:grpSp>
        <p:nvGrpSpPr>
          <p:cNvPr id="4" name="SP Agenda Section Highlight" hidden="1"/>
          <p:cNvGrpSpPr>
            <a:grpSpLocks/>
          </p:cNvGrpSpPr>
          <p:nvPr userDrawn="1"/>
        </p:nvGrpSpPr>
        <p:grpSpPr>
          <a:xfrm>
            <a:off x="649875" y="2886557"/>
            <a:ext cx="8651288" cy="538934"/>
            <a:chOff x="1797664" y="1308363"/>
            <a:chExt cx="8651288" cy="538934"/>
          </a:xfrm>
          <a:noFill/>
        </p:grpSpPr>
        <p:sp>
          <p:nvSpPr>
            <p:cNvPr id="32" name="Section Title"/>
            <p:cNvSpPr txBox="1">
              <a:spLocks/>
            </p:cNvSpPr>
            <p:nvPr userDrawn="1"/>
          </p:nvSpPr>
          <p:spPr>
            <a:xfrm>
              <a:off x="2265804" y="1308363"/>
              <a:ext cx="4994427" cy="262800"/>
            </a:xfrm>
            <a:prstGeom prst="rect">
              <a:avLst/>
            </a:prstGeom>
            <a:grpFill/>
            <a:effectLst/>
          </p:spPr>
          <p:txBody>
            <a:bodyPr vert="horz" wrap="square" lIns="0" tIns="0" rIns="0" bIns="0" rtlCol="0" anchor="ctr">
              <a:normAutofit/>
            </a:bodyPr>
            <a:lstStyle/>
            <a:p>
              <a:pPr algn="l" defTabSz="9334267">
                <a:tabLst>
                  <a:tab pos="9512062" algn="l"/>
                </a:tabLst>
              </a:pPr>
              <a:r>
                <a:rPr lang="en-GB" sz="1200" b="0" i="0" u="none" strike="noStrike">
                  <a:solidFill>
                    <a:schemeClr val="tx1"/>
                  </a:solidFill>
                  <a:latin typeface="Apis For Office" panose="020B0604020202020204" charset="0"/>
                </a:rPr>
                <a:t>&lt;TEXT&gt;</a:t>
              </a:r>
            </a:p>
          </p:txBody>
        </p:sp>
        <p:sp>
          <p:nvSpPr>
            <p:cNvPr id="33" name="Section Number"/>
            <p:cNvSpPr txBox="1">
              <a:spLocks/>
            </p:cNvSpPr>
            <p:nvPr userDrawn="1"/>
          </p:nvSpPr>
          <p:spPr>
            <a:xfrm>
              <a:off x="1797664" y="1308363"/>
              <a:ext cx="379556" cy="262800"/>
            </a:xfrm>
            <a:prstGeom prst="rect">
              <a:avLst/>
            </a:prstGeom>
            <a:grpFill/>
            <a:effectLst/>
          </p:spPr>
          <p:txBody>
            <a:bodyPr vert="horz" wrap="none" lIns="0" tIns="0" rIns="0" bIns="0" rtlCol="0" anchor="ctr">
              <a:noAutofit/>
            </a:bodyPr>
            <a:lstStyle/>
            <a:p>
              <a:pPr algn="l"/>
              <a:r>
                <a:rPr lang="en-GB" sz="1200" b="1" i="0" u="none" strike="noStrike">
                  <a:solidFill>
                    <a:schemeClr val="tx1"/>
                  </a:solidFill>
                  <a:latin typeface="Apis For Office" panose="020B0604020202020204" charset="0"/>
                </a:rPr>
                <a:t>&lt;N&gt;</a:t>
              </a:r>
            </a:p>
          </p:txBody>
        </p:sp>
        <p:sp>
          <p:nvSpPr>
            <p:cNvPr id="34" name="Slide Number"/>
            <p:cNvSpPr txBox="1">
              <a:spLocks/>
            </p:cNvSpPr>
            <p:nvPr userDrawn="1"/>
          </p:nvSpPr>
          <p:spPr>
            <a:xfrm>
              <a:off x="9811958" y="1308363"/>
              <a:ext cx="636994" cy="262800"/>
            </a:xfrm>
            <a:prstGeom prst="rect">
              <a:avLst/>
            </a:prstGeom>
            <a:grpFill/>
            <a:effectLst/>
          </p:spPr>
          <p:txBody>
            <a:bodyPr vert="horz" wrap="none" lIns="0" tIns="0" rIns="0" bIns="0" rtlCol="0" anchor="ctr">
              <a:noAutofit/>
            </a:bodyPr>
            <a:lstStyle/>
            <a:p>
              <a:pPr algn="r"/>
              <a:r>
                <a:rPr lang="en-GB" sz="1200" b="0" i="0" u="none" strike="noStrike">
                  <a:solidFill>
                    <a:schemeClr val="tx1"/>
                  </a:solidFill>
                  <a:latin typeface="Apis For Office" panose="020B0604020202020204" charset="0"/>
                </a:rPr>
                <a:t>&lt;P&gt;</a:t>
              </a:r>
            </a:p>
          </p:txBody>
        </p:sp>
        <p:sp>
          <p:nvSpPr>
            <p:cNvPr id="35" name="Timeslot"/>
            <p:cNvSpPr txBox="1">
              <a:spLocks/>
            </p:cNvSpPr>
            <p:nvPr userDrawn="1"/>
          </p:nvSpPr>
          <p:spPr>
            <a:xfrm>
              <a:off x="2265804" y="1584497"/>
              <a:ext cx="1257061"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TIMESLOT&gt;</a:t>
              </a:r>
            </a:p>
          </p:txBody>
        </p:sp>
        <p:sp>
          <p:nvSpPr>
            <p:cNvPr id="36" name="Responsible"/>
            <p:cNvSpPr txBox="1">
              <a:spLocks/>
            </p:cNvSpPr>
            <p:nvPr userDrawn="1"/>
          </p:nvSpPr>
          <p:spPr>
            <a:xfrm>
              <a:off x="4571435" y="1584497"/>
              <a:ext cx="1388067"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RESPONSIBLE&gt;</a:t>
              </a:r>
            </a:p>
          </p:txBody>
        </p:sp>
        <p:sp>
          <p:nvSpPr>
            <p:cNvPr id="37" name="Duration"/>
            <p:cNvSpPr txBox="1">
              <a:spLocks/>
            </p:cNvSpPr>
            <p:nvPr userDrawn="1"/>
          </p:nvSpPr>
          <p:spPr>
            <a:xfrm>
              <a:off x="7354312" y="1584497"/>
              <a:ext cx="684723"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DURATION&gt;</a:t>
              </a:r>
            </a:p>
          </p:txBody>
        </p:sp>
      </p:grpSp>
      <p:grpSp>
        <p:nvGrpSpPr>
          <p:cNvPr id="8" name="SP Agenda Subsection" hidden="1"/>
          <p:cNvGrpSpPr>
            <a:grpSpLocks/>
          </p:cNvGrpSpPr>
          <p:nvPr userDrawn="1"/>
        </p:nvGrpSpPr>
        <p:grpSpPr>
          <a:xfrm>
            <a:off x="649875" y="3652714"/>
            <a:ext cx="8651288" cy="538934"/>
            <a:chOff x="1797663" y="2081912"/>
            <a:chExt cx="8651287" cy="538934"/>
          </a:xfrm>
        </p:grpSpPr>
        <p:sp>
          <p:nvSpPr>
            <p:cNvPr id="39" name="Section Title"/>
            <p:cNvSpPr txBox="1">
              <a:spLocks/>
            </p:cNvSpPr>
            <p:nvPr userDrawn="1"/>
          </p:nvSpPr>
          <p:spPr>
            <a:xfrm>
              <a:off x="2265803" y="2081912"/>
              <a:ext cx="4994426" cy="262800"/>
            </a:xfrm>
            <a:prstGeom prst="rect">
              <a:avLst/>
            </a:prstGeom>
            <a:noFill/>
            <a:effectLst/>
          </p:spPr>
          <p:txBody>
            <a:bodyPr vert="horz" wrap="square" lIns="0" tIns="0" rIns="0" bIns="0" rtlCol="0" anchor="ctr">
              <a:normAutofit/>
            </a:bodyPr>
            <a:lstStyle/>
            <a:p>
              <a:pPr algn="l" defTabSz="9334267">
                <a:tabLst>
                  <a:tab pos="9512062" algn="l"/>
                </a:tabLst>
              </a:pPr>
              <a:r>
                <a:rPr lang="en-GB" sz="1200" b="0" i="0" u="none" strike="noStrike">
                  <a:solidFill>
                    <a:schemeClr val="tx1"/>
                  </a:solidFill>
                  <a:latin typeface="Apis For Office" panose="020B0604020202020204" charset="0"/>
                </a:rPr>
                <a:t>&lt;TEXT&gt;</a:t>
              </a:r>
            </a:p>
          </p:txBody>
        </p:sp>
        <p:sp>
          <p:nvSpPr>
            <p:cNvPr id="40" name="Section Number"/>
            <p:cNvSpPr txBox="1">
              <a:spLocks/>
            </p:cNvSpPr>
            <p:nvPr userDrawn="1"/>
          </p:nvSpPr>
          <p:spPr>
            <a:xfrm>
              <a:off x="1797663" y="2081912"/>
              <a:ext cx="379556" cy="262800"/>
            </a:xfrm>
            <a:prstGeom prst="rect">
              <a:avLst/>
            </a:prstGeom>
            <a:noFill/>
            <a:effectLst/>
          </p:spPr>
          <p:txBody>
            <a:bodyPr vert="horz" wrap="none" lIns="0" tIns="0" rIns="0" bIns="0" rtlCol="0" anchor="ctr">
              <a:noAutofit/>
            </a:bodyPr>
            <a:lstStyle/>
            <a:p>
              <a:pPr algn="l"/>
              <a:r>
                <a:rPr lang="en-GB" sz="1200" b="1" i="0" u="none" strike="noStrike">
                  <a:solidFill>
                    <a:schemeClr val="tx1"/>
                  </a:solidFill>
                  <a:latin typeface="Apis For Office" panose="020B0604020202020204" charset="0"/>
                </a:rPr>
                <a:t>&lt;N&gt;</a:t>
              </a:r>
            </a:p>
          </p:txBody>
        </p:sp>
        <p:sp>
          <p:nvSpPr>
            <p:cNvPr id="41" name="Slide Number"/>
            <p:cNvSpPr txBox="1">
              <a:spLocks/>
            </p:cNvSpPr>
            <p:nvPr userDrawn="1"/>
          </p:nvSpPr>
          <p:spPr>
            <a:xfrm>
              <a:off x="9811956" y="2081912"/>
              <a:ext cx="636994" cy="262800"/>
            </a:xfrm>
            <a:prstGeom prst="rect">
              <a:avLst/>
            </a:prstGeom>
            <a:noFill/>
            <a:effectLst/>
          </p:spPr>
          <p:txBody>
            <a:bodyPr vert="horz" wrap="none" lIns="0" tIns="0" rIns="0" bIns="0" rtlCol="0" anchor="ctr">
              <a:noAutofit/>
            </a:bodyPr>
            <a:lstStyle/>
            <a:p>
              <a:pPr algn="r"/>
              <a:r>
                <a:rPr lang="en-GB" sz="1200" b="0" i="0" u="none" strike="noStrike">
                  <a:solidFill>
                    <a:schemeClr val="tx1"/>
                  </a:solidFill>
                  <a:latin typeface="Apis For Office" panose="020B0604020202020204" charset="0"/>
                </a:rPr>
                <a:t>&lt;P&gt;</a:t>
              </a:r>
            </a:p>
          </p:txBody>
        </p:sp>
        <p:sp>
          <p:nvSpPr>
            <p:cNvPr id="42" name="Timeslot"/>
            <p:cNvSpPr txBox="1">
              <a:spLocks/>
            </p:cNvSpPr>
            <p:nvPr userDrawn="1"/>
          </p:nvSpPr>
          <p:spPr>
            <a:xfrm>
              <a:off x="2265803" y="2358046"/>
              <a:ext cx="1257061" cy="262800"/>
            </a:xfrm>
            <a:prstGeom prst="rect">
              <a:avLst/>
            </a:prstGeom>
            <a:no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TIMESLOT&gt;</a:t>
              </a:r>
            </a:p>
          </p:txBody>
        </p:sp>
        <p:sp>
          <p:nvSpPr>
            <p:cNvPr id="43" name="Responsible"/>
            <p:cNvSpPr txBox="1">
              <a:spLocks/>
            </p:cNvSpPr>
            <p:nvPr userDrawn="1"/>
          </p:nvSpPr>
          <p:spPr>
            <a:xfrm>
              <a:off x="4571434" y="2358046"/>
              <a:ext cx="1388067" cy="262800"/>
            </a:xfrm>
            <a:prstGeom prst="rect">
              <a:avLst/>
            </a:prstGeom>
            <a:no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RESPONSIBLE&gt;</a:t>
              </a:r>
            </a:p>
          </p:txBody>
        </p:sp>
        <p:sp>
          <p:nvSpPr>
            <p:cNvPr id="44" name="Duration"/>
            <p:cNvSpPr txBox="1">
              <a:spLocks/>
            </p:cNvSpPr>
            <p:nvPr userDrawn="1"/>
          </p:nvSpPr>
          <p:spPr>
            <a:xfrm>
              <a:off x="7354310" y="2358046"/>
              <a:ext cx="684723" cy="262800"/>
            </a:xfrm>
            <a:prstGeom prst="rect">
              <a:avLst/>
            </a:prstGeom>
            <a:no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DURATION&gt;</a:t>
              </a:r>
            </a:p>
          </p:txBody>
        </p:sp>
      </p:grpSp>
      <p:grpSp>
        <p:nvGrpSpPr>
          <p:cNvPr id="9" name="SP Agenda Subsection Highlight" hidden="1"/>
          <p:cNvGrpSpPr>
            <a:grpSpLocks/>
          </p:cNvGrpSpPr>
          <p:nvPr userDrawn="1"/>
        </p:nvGrpSpPr>
        <p:grpSpPr>
          <a:xfrm>
            <a:off x="649575" y="4474801"/>
            <a:ext cx="8651588" cy="538934"/>
            <a:chOff x="1797664" y="1967494"/>
            <a:chExt cx="8651588" cy="538934"/>
          </a:xfrm>
          <a:noFill/>
        </p:grpSpPr>
        <p:sp>
          <p:nvSpPr>
            <p:cNvPr id="46" name="Section Title"/>
            <p:cNvSpPr txBox="1">
              <a:spLocks/>
            </p:cNvSpPr>
            <p:nvPr userDrawn="1"/>
          </p:nvSpPr>
          <p:spPr>
            <a:xfrm>
              <a:off x="2265804" y="1967494"/>
              <a:ext cx="4994427" cy="262800"/>
            </a:xfrm>
            <a:prstGeom prst="rect">
              <a:avLst/>
            </a:prstGeom>
            <a:grpFill/>
            <a:effectLst/>
          </p:spPr>
          <p:txBody>
            <a:bodyPr vert="horz" wrap="square" lIns="0" tIns="0" rIns="0" bIns="0" rtlCol="0" anchor="ctr">
              <a:normAutofit/>
            </a:bodyPr>
            <a:lstStyle/>
            <a:p>
              <a:pPr algn="l" defTabSz="9334267">
                <a:tabLst>
                  <a:tab pos="9512062" algn="l"/>
                </a:tabLst>
              </a:pPr>
              <a:r>
                <a:rPr lang="en-GB" sz="1200" b="0" i="0" u="none" strike="noStrike">
                  <a:solidFill>
                    <a:schemeClr val="tx1"/>
                  </a:solidFill>
                  <a:latin typeface="Apis For Office" panose="020B0604020202020204" charset="0"/>
                </a:rPr>
                <a:t>&lt;TEXT&gt;</a:t>
              </a:r>
            </a:p>
          </p:txBody>
        </p:sp>
        <p:sp>
          <p:nvSpPr>
            <p:cNvPr id="47" name="Section Number"/>
            <p:cNvSpPr txBox="1">
              <a:spLocks/>
            </p:cNvSpPr>
            <p:nvPr userDrawn="1"/>
          </p:nvSpPr>
          <p:spPr>
            <a:xfrm>
              <a:off x="1797664" y="1967494"/>
              <a:ext cx="379556" cy="262800"/>
            </a:xfrm>
            <a:prstGeom prst="rect">
              <a:avLst/>
            </a:prstGeom>
            <a:grpFill/>
            <a:effectLst/>
          </p:spPr>
          <p:txBody>
            <a:bodyPr vert="horz" wrap="none" lIns="0" tIns="0" rIns="0" bIns="0" rtlCol="0" anchor="ctr">
              <a:noAutofit/>
            </a:bodyPr>
            <a:lstStyle/>
            <a:p>
              <a:pPr algn="l"/>
              <a:r>
                <a:rPr lang="en-GB" sz="1200" b="1" i="0" u="none" strike="noStrike">
                  <a:solidFill>
                    <a:schemeClr val="tx1"/>
                  </a:solidFill>
                  <a:latin typeface="Apis For Office" panose="020B0604020202020204" charset="0"/>
                </a:rPr>
                <a:t>&lt;N&gt;</a:t>
              </a:r>
            </a:p>
          </p:txBody>
        </p:sp>
        <p:sp>
          <p:nvSpPr>
            <p:cNvPr id="48" name="Slide Number"/>
            <p:cNvSpPr txBox="1">
              <a:spLocks/>
            </p:cNvSpPr>
            <p:nvPr userDrawn="1"/>
          </p:nvSpPr>
          <p:spPr>
            <a:xfrm>
              <a:off x="9812258" y="1967494"/>
              <a:ext cx="636994" cy="262800"/>
            </a:xfrm>
            <a:prstGeom prst="rect">
              <a:avLst/>
            </a:prstGeom>
            <a:grpFill/>
            <a:effectLst/>
          </p:spPr>
          <p:txBody>
            <a:bodyPr vert="horz" wrap="none" lIns="0" tIns="0" rIns="0" bIns="0" rtlCol="0" anchor="ctr">
              <a:noAutofit/>
            </a:bodyPr>
            <a:lstStyle/>
            <a:p>
              <a:pPr algn="r"/>
              <a:r>
                <a:rPr lang="en-GB" sz="1200" b="0" i="0" u="none" strike="noStrike">
                  <a:solidFill>
                    <a:schemeClr val="tx1"/>
                  </a:solidFill>
                  <a:latin typeface="Apis For Office" panose="020B0604020202020204" charset="0"/>
                </a:rPr>
                <a:t>&lt;P&gt;</a:t>
              </a:r>
            </a:p>
          </p:txBody>
        </p:sp>
        <p:sp>
          <p:nvSpPr>
            <p:cNvPr id="49" name="Timeslot"/>
            <p:cNvSpPr txBox="1">
              <a:spLocks/>
            </p:cNvSpPr>
            <p:nvPr userDrawn="1"/>
          </p:nvSpPr>
          <p:spPr>
            <a:xfrm>
              <a:off x="2265804" y="2243628"/>
              <a:ext cx="1257061"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TIMESLOT&gt;</a:t>
              </a:r>
            </a:p>
          </p:txBody>
        </p:sp>
        <p:sp>
          <p:nvSpPr>
            <p:cNvPr id="50" name="Responsible"/>
            <p:cNvSpPr txBox="1">
              <a:spLocks/>
            </p:cNvSpPr>
            <p:nvPr userDrawn="1"/>
          </p:nvSpPr>
          <p:spPr>
            <a:xfrm>
              <a:off x="4571735" y="2243628"/>
              <a:ext cx="1388067"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RESPONSIBLE&gt;</a:t>
              </a:r>
            </a:p>
          </p:txBody>
        </p:sp>
        <p:sp>
          <p:nvSpPr>
            <p:cNvPr id="51" name="Duration"/>
            <p:cNvSpPr txBox="1">
              <a:spLocks/>
            </p:cNvSpPr>
            <p:nvPr userDrawn="1"/>
          </p:nvSpPr>
          <p:spPr>
            <a:xfrm>
              <a:off x="7354611" y="2243628"/>
              <a:ext cx="684723" cy="262800"/>
            </a:xfrm>
            <a:prstGeom prst="rect">
              <a:avLst/>
            </a:prstGeom>
            <a:grpFill/>
            <a:effectLst/>
          </p:spPr>
          <p:txBody>
            <a:bodyPr vert="horz" wrap="none" lIns="0" tIns="0" rIns="0" bIns="0" rtlCol="0" anchor="ctr">
              <a:noAutofit/>
            </a:bodyPr>
            <a:lstStyle/>
            <a:p>
              <a:pPr algn="l"/>
              <a:r>
                <a:rPr lang="en-GB" sz="1000" b="0" i="0" u="none" strike="noStrike">
                  <a:solidFill>
                    <a:schemeClr val="tx1"/>
                  </a:solidFill>
                  <a:latin typeface="Apis For Office" panose="020B0604020202020204" charset="0"/>
                </a:rPr>
                <a:t>&lt;DURATION&gt;</a:t>
              </a:r>
            </a:p>
          </p:txBody>
        </p:sp>
      </p:grpSp>
      <p:sp>
        <p:nvSpPr>
          <p:cNvPr id="2" name="Title 1">
            <a:extLst>
              <a:ext uri="{FF2B5EF4-FFF2-40B4-BE49-F238E27FC236}">
                <a16:creationId xmlns:a16="http://schemas.microsoft.com/office/drawing/2014/main" id="{ACC69C51-152E-42EB-9E33-2953A61CF398}"/>
              </a:ext>
            </a:extLst>
          </p:cNvPr>
          <p:cNvSpPr>
            <a:spLocks noGrp="1"/>
          </p:cNvSpPr>
          <p:nvPr>
            <p:ph type="title" idx="10" hasCustomPrompt="1"/>
          </p:nvPr>
        </p:nvSpPr>
        <p:spPr>
          <a:xfrm>
            <a:off x="648000" y="648000"/>
            <a:ext cx="6406850" cy="694663"/>
          </a:xfrm>
        </p:spPr>
        <p:txBody>
          <a:bodyPr anchor="t"/>
          <a:lstStyle>
            <a:lvl1pPr>
              <a:defRPr sz="3600">
                <a:solidFill>
                  <a:schemeClr val="tx1"/>
                </a:solidFill>
              </a:defRPr>
            </a:lvl1pPr>
          </a:lstStyle>
          <a:p>
            <a:r>
              <a:rPr lang="en-GB"/>
              <a:t>Agenda</a:t>
            </a:r>
          </a:p>
        </p:txBody>
      </p:sp>
      <p:sp>
        <p:nvSpPr>
          <p:cNvPr id="5" name="Date Placeholder 4">
            <a:extLst>
              <a:ext uri="{FF2B5EF4-FFF2-40B4-BE49-F238E27FC236}">
                <a16:creationId xmlns:a16="http://schemas.microsoft.com/office/drawing/2014/main" id="{EBEAC6E4-F34E-C8E7-3EE6-EBAF68C864AE}"/>
              </a:ext>
            </a:extLst>
          </p:cNvPr>
          <p:cNvSpPr>
            <a:spLocks noGrp="1"/>
          </p:cNvSpPr>
          <p:nvPr>
            <p:ph type="dt" sz="half" idx="11"/>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491B7CAE-3673-9F2C-CEC3-DD3AC3C50C5D}"/>
              </a:ext>
            </a:extLst>
          </p:cNvPr>
          <p:cNvSpPr>
            <a:spLocks noGrp="1"/>
          </p:cNvSpPr>
          <p:nvPr>
            <p:ph type="ftr" sz="quarter" idx="12"/>
          </p:nvPr>
        </p:nvSpPr>
        <p:spPr/>
        <p:txBody>
          <a:bodyPr/>
          <a:lstStyle>
            <a:lvl1pPr>
              <a:defRPr>
                <a:solidFill>
                  <a:schemeClr val="tx1"/>
                </a:solidFill>
              </a:defRPr>
            </a:lvl1pPr>
          </a:lstStyle>
          <a:p>
            <a:endParaRPr lang="en-GB"/>
          </a:p>
        </p:txBody>
      </p:sp>
      <p:sp>
        <p:nvSpPr>
          <p:cNvPr id="7" name="Slide Number Placeholder 6">
            <a:extLst>
              <a:ext uri="{FF2B5EF4-FFF2-40B4-BE49-F238E27FC236}">
                <a16:creationId xmlns:a16="http://schemas.microsoft.com/office/drawing/2014/main" id="{51AB8224-9D13-0477-381E-9E06AE6FAE1A}"/>
              </a:ext>
            </a:extLst>
          </p:cNvPr>
          <p:cNvSpPr>
            <a:spLocks noGrp="1"/>
          </p:cNvSpPr>
          <p:nvPr>
            <p:ph type="sldNum" sz="quarter" idx="13"/>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13" name="Logo Apis Bull">
            <a:extLst>
              <a:ext uri="{FF2B5EF4-FFF2-40B4-BE49-F238E27FC236}">
                <a16:creationId xmlns:a16="http://schemas.microsoft.com/office/drawing/2014/main" id="{B62F5D8E-88E4-DB90-7E42-370049822C3B}"/>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tx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461082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BC2A95-D6F3-C873-0C4F-968220225C6F}"/>
              </a:ext>
            </a:extLst>
          </p:cNvPr>
          <p:cNvSpPr>
            <a:spLocks noGrp="1" noRot="1" noMove="1" noResize="1" noEditPoints="1" noAdjustHandles="1" noChangeArrowheads="1" noChangeShapeType="1"/>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749301" y="3127375"/>
            <a:ext cx="10423524" cy="603250"/>
            <a:chOff x="1595205" y="1927239"/>
            <a:chExt cx="6143204" cy="603250"/>
          </a:xfrm>
        </p:grpSpPr>
        <p:sp>
          <p:nvSpPr>
            <p:cNvPr id="72" name="Section Title">
              <a:extLst>
                <a:ext uri="{FF2B5EF4-FFF2-40B4-BE49-F238E27FC236}">
                  <a16:creationId xmlns:a16="http://schemas.microsoft.com/office/drawing/2014/main" id="{8BF45C0E-D24F-4800-98B2-20E0A3AC8C3F}"/>
                </a:ext>
              </a:extLst>
            </p:cNvPr>
            <p:cNvSpPr txBox="1">
              <a:spLocks/>
            </p:cNvSpPr>
            <p:nvPr userDrawn="1"/>
          </p:nvSpPr>
          <p:spPr>
            <a:xfrm>
              <a:off x="2242645" y="1927239"/>
              <a:ext cx="5495764" cy="603250"/>
            </a:xfrm>
            <a:prstGeom prst="rect">
              <a:avLst/>
            </a:prstGeom>
            <a:noFill/>
          </p:spPr>
          <p:txBody>
            <a:bodyPr wrap="square" rtlCol="0" anchor="ctr">
              <a:noAutofit/>
            </a:bodyPr>
            <a:lstStyle/>
            <a:p>
              <a:pPr defTabSz="9334267">
                <a:tabLst>
                  <a:tab pos="9512062" algn="l"/>
                </a:tabLst>
              </a:pPr>
              <a:r>
                <a:rPr lang="en-GB" sz="4400" b="1">
                  <a:solidFill>
                    <a:schemeClr val="bg1"/>
                  </a:solidFill>
                </a:rPr>
                <a:t>&lt;TEXT&gt;</a:t>
              </a:r>
            </a:p>
          </p:txBody>
        </p:sp>
        <p:sp>
          <p:nvSpPr>
            <p:cNvPr id="73" name="Section Number">
              <a:extLst>
                <a:ext uri="{FF2B5EF4-FFF2-40B4-BE49-F238E27FC236}">
                  <a16:creationId xmlns:a16="http://schemas.microsoft.com/office/drawing/2014/main" id="{B36140C3-09D5-4D3F-906D-270C63E34027}"/>
                </a:ext>
              </a:extLst>
            </p:cNvPr>
            <p:cNvSpPr txBox="1">
              <a:spLocks/>
            </p:cNvSpPr>
            <p:nvPr userDrawn="1"/>
          </p:nvSpPr>
          <p:spPr>
            <a:xfrm>
              <a:off x="1595205" y="1927239"/>
              <a:ext cx="647442" cy="603250"/>
            </a:xfrm>
            <a:prstGeom prst="rect">
              <a:avLst/>
            </a:prstGeom>
            <a:noFill/>
          </p:spPr>
          <p:txBody>
            <a:bodyPr wrap="none" rtlCol="0" anchor="ctr">
              <a:noAutofit/>
            </a:bodyPr>
            <a:lstStyle/>
            <a:p>
              <a:pPr algn="ctr"/>
              <a:r>
                <a:rPr lang="en-GB" sz="4400" b="1">
                  <a:solidFill>
                    <a:schemeClr val="bg1"/>
                  </a:solidFill>
                </a:rPr>
                <a:t>&lt;N&gt;</a:t>
              </a:r>
            </a:p>
          </p:txBody>
        </p:sp>
        <p:sp>
          <p:nvSpPr>
            <p:cNvPr id="74" name="Slide Number">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4400">
                  <a:solidFill>
                    <a:srgbClr val="000000">
                      <a:alpha val="0"/>
                    </a:srgbClr>
                  </a:solidFill>
                </a:rPr>
                <a:t>&lt;P&gt;</a:t>
              </a:r>
            </a:p>
          </p:txBody>
        </p:sp>
        <p:sp>
          <p:nvSpPr>
            <p:cNvPr id="75" name="Timeslot">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400">
                  <a:solidFill>
                    <a:srgbClr val="000000">
                      <a:alpha val="0"/>
                    </a:srgbClr>
                  </a:solidFill>
                </a:rPr>
                <a:t>&lt;TIMESLOT&gt;</a:t>
              </a:r>
            </a:p>
          </p:txBody>
        </p:sp>
        <p:sp>
          <p:nvSpPr>
            <p:cNvPr id="76" name="Responsible">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400">
                  <a:solidFill>
                    <a:srgbClr val="000000">
                      <a:alpha val="0"/>
                    </a:srgbClr>
                  </a:solidFill>
                </a:rPr>
                <a:t>&lt;RESPONSIBLE&gt;</a:t>
              </a:r>
            </a:p>
          </p:txBody>
        </p:sp>
        <p:sp>
          <p:nvSpPr>
            <p:cNvPr id="77" name="Duration">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440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749301" y="3127375"/>
            <a:ext cx="10423523" cy="603250"/>
            <a:chOff x="1595205" y="1927239"/>
            <a:chExt cx="6143204" cy="603250"/>
          </a:xfrm>
        </p:grpSpPr>
        <p:sp>
          <p:nvSpPr>
            <p:cNvPr id="79" name="Section Title">
              <a:extLst>
                <a:ext uri="{FF2B5EF4-FFF2-40B4-BE49-F238E27FC236}">
                  <a16:creationId xmlns:a16="http://schemas.microsoft.com/office/drawing/2014/main" id="{584D4FFB-892A-49C8-973F-893B258E19BF}"/>
                </a:ext>
              </a:extLst>
            </p:cNvPr>
            <p:cNvSpPr txBox="1">
              <a:spLocks/>
            </p:cNvSpPr>
            <p:nvPr userDrawn="1"/>
          </p:nvSpPr>
          <p:spPr>
            <a:xfrm>
              <a:off x="2242645" y="1927239"/>
              <a:ext cx="5495764" cy="603250"/>
            </a:xfrm>
            <a:prstGeom prst="rect">
              <a:avLst/>
            </a:prstGeom>
            <a:noFill/>
          </p:spPr>
          <p:txBody>
            <a:bodyPr wrap="square" rtlCol="0" anchor="ctr">
              <a:noAutofit/>
            </a:bodyPr>
            <a:lstStyle/>
            <a:p>
              <a:pPr defTabSz="9334267">
                <a:tabLst>
                  <a:tab pos="9512062" algn="l"/>
                </a:tabLst>
              </a:pPr>
              <a:r>
                <a:rPr lang="en-GB" sz="4400" b="1">
                  <a:solidFill>
                    <a:schemeClr val="bg1"/>
                  </a:solidFill>
                </a:rPr>
                <a:t>&lt;TEXT&gt;</a:t>
              </a:r>
            </a:p>
          </p:txBody>
        </p:sp>
        <p:sp>
          <p:nvSpPr>
            <p:cNvPr id="80" name="Section Number">
              <a:extLst>
                <a:ext uri="{FF2B5EF4-FFF2-40B4-BE49-F238E27FC236}">
                  <a16:creationId xmlns:a16="http://schemas.microsoft.com/office/drawing/2014/main" id="{BB144044-4B4E-495D-8D8D-9D01BCCA9A24}"/>
                </a:ext>
              </a:extLst>
            </p:cNvPr>
            <p:cNvSpPr txBox="1">
              <a:spLocks/>
            </p:cNvSpPr>
            <p:nvPr userDrawn="1"/>
          </p:nvSpPr>
          <p:spPr>
            <a:xfrm>
              <a:off x="1595205" y="1927239"/>
              <a:ext cx="647442" cy="603250"/>
            </a:xfrm>
            <a:prstGeom prst="rect">
              <a:avLst/>
            </a:prstGeom>
            <a:noFill/>
          </p:spPr>
          <p:txBody>
            <a:bodyPr wrap="none" rtlCol="0" anchor="ctr">
              <a:noAutofit/>
            </a:bodyPr>
            <a:lstStyle/>
            <a:p>
              <a:pPr algn="ctr"/>
              <a:r>
                <a:rPr lang="en-GB" sz="4400" b="1">
                  <a:solidFill>
                    <a:schemeClr val="bg1"/>
                  </a:solidFill>
                </a:rPr>
                <a:t>&lt;N&gt;</a:t>
              </a:r>
            </a:p>
          </p:txBody>
        </p:sp>
        <p:sp>
          <p:nvSpPr>
            <p:cNvPr id="81" name="Slide Number">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4400" b="1">
                  <a:solidFill>
                    <a:srgbClr val="000000">
                      <a:alpha val="0"/>
                    </a:srgbClr>
                  </a:solidFill>
                </a:rPr>
                <a:t>&lt;P&gt;</a:t>
              </a:r>
            </a:p>
          </p:txBody>
        </p:sp>
        <p:sp>
          <p:nvSpPr>
            <p:cNvPr id="82" name="Timeslot">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400" b="1">
                  <a:solidFill>
                    <a:srgbClr val="000000">
                      <a:alpha val="0"/>
                    </a:srgbClr>
                  </a:solidFill>
                </a:rPr>
                <a:t>&lt;TIMESLOT&gt;</a:t>
              </a:r>
            </a:p>
          </p:txBody>
        </p:sp>
        <p:sp>
          <p:nvSpPr>
            <p:cNvPr id="83" name="Responsible">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400" b="1">
                  <a:solidFill>
                    <a:srgbClr val="000000">
                      <a:alpha val="0"/>
                    </a:srgbClr>
                  </a:solidFill>
                </a:rPr>
                <a:t>&lt;RESPONSIBLE&gt;</a:t>
              </a:r>
            </a:p>
          </p:txBody>
        </p:sp>
        <p:sp>
          <p:nvSpPr>
            <p:cNvPr id="84" name="Duration">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4400" b="1">
                  <a:solidFill>
                    <a:srgbClr val="000000">
                      <a:alpha val="0"/>
                    </a:srgbClr>
                  </a:solidFill>
                </a:rPr>
                <a:t>&lt;DURATION&gt;</a:t>
              </a:r>
            </a:p>
          </p:txBody>
        </p:sp>
      </p:grpSp>
      <p:sp>
        <p:nvSpPr>
          <p:cNvPr id="4" name="Date Placeholder 3">
            <a:extLst>
              <a:ext uri="{FF2B5EF4-FFF2-40B4-BE49-F238E27FC236}">
                <a16:creationId xmlns:a16="http://schemas.microsoft.com/office/drawing/2014/main" id="{2E0DBF30-E737-9B72-7BCE-6AAF7DB68DA1}"/>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246C61A8-A907-429E-B74A-EFE0C7185050}"/>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EFAB9F0A-4D38-6AC3-6ABD-0F8B46103A05}"/>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7" name="Logo Apis Bull">
            <a:extLst>
              <a:ext uri="{FF2B5EF4-FFF2-40B4-BE49-F238E27FC236}">
                <a16:creationId xmlns:a16="http://schemas.microsoft.com/office/drawing/2014/main" id="{AAC4F59C-304B-BBE1-B1E7-C963C2ACD568}"/>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429510965"/>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GB"/>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a:p>
        </p:txBody>
      </p:sp>
      <p:sp>
        <p:nvSpPr>
          <p:cNvPr id="5" name="Text Box 3">
            <a:extLst>
              <a:ext uri="{FF2B5EF4-FFF2-40B4-BE49-F238E27FC236}">
                <a16:creationId xmlns:a16="http://schemas.microsoft.com/office/drawing/2014/main" id="{B82AC4B4-CADE-20C1-7FDB-8AAC5E43A476}"/>
              </a:ext>
            </a:extLst>
          </p:cNvPr>
          <p:cNvSpPr txBox="1">
            <a:spLocks noChangeArrowheads="1"/>
          </p:cNvSpPr>
          <p:nvPr userDrawn="1"/>
        </p:nvSpPr>
        <p:spPr bwMode="auto">
          <a:xfrm>
            <a:off x="4467579" y="1428452"/>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001965"/>
                </a:solidFill>
                <a:latin typeface="+mn-lt"/>
                <a:cs typeface="Arial" panose="020B0604020202020204" pitchFamily="34" charset="0"/>
              </a:rPr>
              <a:t>PICTURES</a:t>
            </a:r>
            <a:br>
              <a:rPr lang="en-GB" sz="900">
                <a:solidFill>
                  <a:srgbClr val="001965"/>
                </a:solidFill>
                <a:latin typeface="+mn-lt"/>
                <a:cs typeface="Arial" panose="020B0604020202020204" pitchFamily="34" charset="0"/>
              </a:rPr>
            </a:br>
            <a:r>
              <a:rPr lang="en-GB" sz="900" b="1" noProof="1">
                <a:solidFill>
                  <a:srgbClr val="001965"/>
                </a:solidFill>
                <a:latin typeface="+mn-lt"/>
                <a:cs typeface="Arial" panose="020B0604020202020204" pitchFamily="34" charset="0"/>
              </a:rPr>
              <a:t>Insert corporate picture from Templafy</a:t>
            </a:r>
            <a:endParaRPr lang="en-GB" altLang="da-DK" sz="900" b="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001965"/>
                </a:solidFill>
                <a:latin typeface="+mn-lt"/>
                <a:cs typeface="Arial" panose="020B0604020202020204" pitchFamily="34" charset="0"/>
              </a:rPr>
              <a:t>1.</a:t>
            </a:r>
            <a:r>
              <a:rPr lang="en-GB" altLang="da-DK" sz="900" b="0" noProof="1">
                <a:solidFill>
                  <a:srgbClr val="001965"/>
                </a:solidFill>
                <a:latin typeface="+mn-lt"/>
                <a:cs typeface="Arial" panose="020B0604020202020204" pitchFamily="34" charset="0"/>
              </a:rPr>
              <a:t> Click the blue </a:t>
            </a:r>
            <a:r>
              <a:rPr lang="en-GB" altLang="da-DK" sz="900" b="1" baseline="0" noProof="1">
                <a:solidFill>
                  <a:srgbClr val="001965"/>
                </a:solidFill>
                <a:latin typeface="+mn-lt"/>
                <a:cs typeface="Arial" panose="020B0604020202020204" pitchFamily="34" charset="0"/>
              </a:rPr>
              <a:t>Templafy </a:t>
            </a:r>
            <a:r>
              <a:rPr lang="en-GB" altLang="da-DK" sz="900" b="0" baseline="0" noProof="1">
                <a:solidFill>
                  <a:srgbClr val="001965"/>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1965"/>
                </a:solidFill>
                <a:latin typeface="+mn-lt"/>
                <a:cs typeface="Arial" panose="020B0604020202020204" pitchFamily="34" charset="0"/>
              </a:rPr>
              <a:t>2. </a:t>
            </a:r>
            <a:r>
              <a:rPr lang="en-GB" altLang="da-DK" sz="900" b="0" baseline="0" noProof="1">
                <a:solidFill>
                  <a:srgbClr val="001965"/>
                </a:solidFill>
                <a:latin typeface="+mn-lt"/>
                <a:cs typeface="Arial" panose="020B0604020202020204" pitchFamily="34" charset="0"/>
              </a:rPr>
              <a:t>Click the </a:t>
            </a:r>
            <a:r>
              <a:rPr lang="en-GB" altLang="da-DK" sz="900" b="1" baseline="0" noProof="1">
                <a:solidFill>
                  <a:srgbClr val="001965"/>
                </a:solidFill>
                <a:latin typeface="+mn-lt"/>
                <a:cs typeface="Arial" panose="020B0604020202020204" pitchFamily="34" charset="0"/>
              </a:rPr>
              <a:t>Images </a:t>
            </a:r>
            <a:r>
              <a:rPr lang="en-GB" altLang="da-DK" sz="900" b="0" i="0" baseline="0" noProof="1">
                <a:solidFill>
                  <a:srgbClr val="001965"/>
                </a:solidFill>
                <a:latin typeface="+mn-lt"/>
                <a:cs typeface="Arial" panose="020B0604020202020204" pitchFamily="34" charset="0"/>
              </a:rPr>
              <a:t>button</a:t>
            </a:r>
            <a:r>
              <a:rPr lang="en-GB" altLang="da-DK" sz="900" b="0" baseline="0" noProof="1">
                <a:solidFill>
                  <a:srgbClr val="001965"/>
                </a:solidFill>
                <a:latin typeface="+mn-lt"/>
                <a:cs typeface="Arial" panose="020B0604020202020204" pitchFamily="34" charset="0"/>
              </a:rPr>
              <a:t> in the Templafy pane on the right side of the screen</a:t>
            </a:r>
            <a:endParaRPr lang="en-GB" altLang="da-DK" sz="90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1965"/>
                </a:solidFill>
                <a:latin typeface="+mn-lt"/>
                <a:cs typeface="Arial" panose="020B0604020202020204" pitchFamily="34" charset="0"/>
              </a:rPr>
              <a:t>Insert picture</a:t>
            </a:r>
          </a:p>
          <a:p>
            <a:pPr eaLnBrk="1" hangingPunct="1">
              <a:spcAft>
                <a:spcPts val="600"/>
              </a:spcAft>
              <a:defRPr/>
            </a:pPr>
            <a:r>
              <a:rPr lang="en-GB" altLang="da-DK" sz="900" b="0" noProof="1">
                <a:solidFill>
                  <a:srgbClr val="001965"/>
                </a:solidFill>
                <a:latin typeface="+mn-lt"/>
                <a:cs typeface="Arial" panose="020B0604020202020204" pitchFamily="34" charset="0"/>
              </a:rPr>
              <a:t>On slides with pictureplaceholder, click on the icon and choose </a:t>
            </a:r>
            <a:r>
              <a:rPr lang="en-GB" altLang="da-DK" sz="900" b="1" noProof="1">
                <a:solidFill>
                  <a:srgbClr val="001965"/>
                </a:solidFill>
                <a:latin typeface="+mn-lt"/>
                <a:cs typeface="Arial" panose="020B0604020202020204" pitchFamily="34" charset="0"/>
              </a:rPr>
              <a:t>Insert</a:t>
            </a:r>
          </a:p>
          <a:p>
            <a:pPr eaLnBrk="1" hangingPunct="1">
              <a:spcBef>
                <a:spcPts val="1200"/>
              </a:spcBef>
              <a:spcAft>
                <a:spcPts val="600"/>
              </a:spcAft>
              <a:defRPr/>
            </a:pPr>
            <a:r>
              <a:rPr lang="en-GB" sz="900" b="1" noProof="1">
                <a:solidFill>
                  <a:srgbClr val="001965"/>
                </a:solidFill>
                <a:latin typeface="+mn-lt"/>
                <a:cs typeface="Arial" panose="020B0604020202020204" pitchFamily="34" charset="0"/>
              </a:rPr>
              <a:t>Crop picture</a:t>
            </a:r>
          </a:p>
          <a:p>
            <a:pPr eaLnBrk="1" hangingPunct="1">
              <a:spcAft>
                <a:spcPts val="600"/>
              </a:spcAft>
              <a:defRPr/>
            </a:pPr>
            <a:r>
              <a:rPr lang="en-GB" altLang="da-DK" sz="900" b="1" noProof="1">
                <a:solidFill>
                  <a:srgbClr val="001965"/>
                </a:solidFill>
                <a:latin typeface="+mn-lt"/>
                <a:cs typeface="Arial" panose="020B0604020202020204" pitchFamily="34" charset="0"/>
              </a:rPr>
              <a:t>1. </a:t>
            </a:r>
            <a:r>
              <a:rPr lang="en-GB" altLang="da-DK" sz="900" b="0" noProof="1">
                <a:solidFill>
                  <a:srgbClr val="001965"/>
                </a:solidFill>
                <a:latin typeface="+mn-lt"/>
                <a:cs typeface="Arial" panose="020B0604020202020204" pitchFamily="34" charset="0"/>
              </a:rPr>
              <a:t>Click </a:t>
            </a:r>
            <a:r>
              <a:rPr lang="en-GB" altLang="da-DK" sz="900" b="1" noProof="1">
                <a:solidFill>
                  <a:srgbClr val="001965"/>
                </a:solidFill>
                <a:latin typeface="+mn-lt"/>
                <a:cs typeface="Arial" panose="020B0604020202020204" pitchFamily="34" charset="0"/>
              </a:rPr>
              <a:t>Crop</a:t>
            </a:r>
            <a:r>
              <a:rPr lang="en-GB" altLang="da-DK" sz="900" b="0" noProof="1">
                <a:solidFill>
                  <a:srgbClr val="001965"/>
                </a:solidFill>
                <a:latin typeface="+mn-lt"/>
                <a:cs typeface="Arial" panose="020B0604020202020204" pitchFamily="34" charset="0"/>
              </a:rPr>
              <a:t> to change size or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focus of the picture</a:t>
            </a:r>
          </a:p>
          <a:p>
            <a:pPr eaLnBrk="1" hangingPunct="1">
              <a:spcAft>
                <a:spcPts val="600"/>
              </a:spcAft>
              <a:defRPr/>
            </a:pPr>
            <a:r>
              <a:rPr lang="en-GB" altLang="da-DK" sz="900" b="1" noProof="1">
                <a:solidFill>
                  <a:srgbClr val="001965"/>
                </a:solidFill>
                <a:latin typeface="+mn-lt"/>
                <a:cs typeface="Arial" panose="020B0604020202020204" pitchFamily="34" charset="0"/>
              </a:rPr>
              <a:t>2. </a:t>
            </a:r>
            <a:r>
              <a:rPr lang="en-GB" altLang="da-DK" sz="900" b="0" noProof="1">
                <a:solidFill>
                  <a:srgbClr val="001965"/>
                </a:solidFill>
                <a:latin typeface="+mn-lt"/>
                <a:cs typeface="Arial" panose="020B0604020202020204" pitchFamily="34" charset="0"/>
              </a:rPr>
              <a:t>If you want to scale the picture,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hold </a:t>
            </a:r>
            <a:r>
              <a:rPr lang="en-GB" altLang="da-DK" sz="900" b="1" noProof="1">
                <a:solidFill>
                  <a:srgbClr val="001965"/>
                </a:solidFill>
                <a:latin typeface="+mn-lt"/>
                <a:cs typeface="Arial" panose="020B0604020202020204" pitchFamily="34" charset="0"/>
              </a:rPr>
              <a:t>SHIFT</a:t>
            </a:r>
            <a:r>
              <a:rPr lang="en-GB" altLang="da-DK" sz="900" b="0" noProof="1">
                <a:solidFill>
                  <a:srgbClr val="001965"/>
                </a:solidFill>
                <a:latin typeface="+mn-lt"/>
                <a:cs typeface="Arial" panose="020B0604020202020204" pitchFamily="34" charset="0"/>
              </a:rPr>
              <a:t>-key down while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dragging the corners of the picture</a:t>
            </a:r>
            <a:br>
              <a:rPr lang="en-GB" altLang="da-DK" sz="900" b="0" noProof="1">
                <a:solidFill>
                  <a:srgbClr val="001965"/>
                </a:solidFill>
                <a:latin typeface="+mn-lt"/>
                <a:cs typeface="Arial" panose="020B0604020202020204" pitchFamily="34" charset="0"/>
              </a:rPr>
            </a:br>
            <a:endParaRPr lang="en-GB" altLang="da-DK" sz="900" b="0" noProof="1">
              <a:solidFill>
                <a:srgbClr val="001965"/>
              </a:solidFill>
              <a:latin typeface="+mn-lt"/>
              <a:cs typeface="Arial" panose="020B0604020202020204" pitchFamily="34" charset="0"/>
            </a:endParaRPr>
          </a:p>
          <a:p>
            <a:pPr eaLnBrk="1" hangingPunct="1">
              <a:spcAft>
                <a:spcPts val="600"/>
              </a:spcAft>
              <a:defRPr/>
            </a:pPr>
            <a:r>
              <a:rPr lang="en-GB" altLang="da-DK" sz="900" b="1" noProof="1">
                <a:solidFill>
                  <a:srgbClr val="001965"/>
                </a:solidFill>
                <a:latin typeface="+mn-lt"/>
                <a:cs typeface="Arial" panose="020B0604020202020204" pitchFamily="34" charset="0"/>
              </a:rPr>
              <a:t>HINT: </a:t>
            </a:r>
            <a:r>
              <a:rPr lang="en-GB" altLang="da-DK" sz="900" b="0" noProof="1">
                <a:solidFill>
                  <a:srgbClr val="001965"/>
                </a:solidFill>
                <a:latin typeface="+mn-lt"/>
                <a:cs typeface="Arial" panose="020B0604020202020204" pitchFamily="34" charset="0"/>
              </a:rPr>
              <a:t>If you delete the picture and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insert a new one, the picture may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lie in front of the text or graphic.</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If this happens, select the picture, </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right-click and choose </a:t>
            </a:r>
            <a:r>
              <a:rPr lang="en-GB" altLang="da-DK" sz="900" b="1" noProof="1">
                <a:solidFill>
                  <a:srgbClr val="001965"/>
                </a:solidFill>
                <a:latin typeface="+mn-lt"/>
                <a:cs typeface="Arial" panose="020B0604020202020204" pitchFamily="34" charset="0"/>
              </a:rPr>
              <a:t>Send to Back</a:t>
            </a:r>
          </a:p>
        </p:txBody>
      </p:sp>
      <p:sp>
        <p:nvSpPr>
          <p:cNvPr id="6" name="Text Box 2">
            <a:extLst>
              <a:ext uri="{FF2B5EF4-FFF2-40B4-BE49-F238E27FC236}">
                <a16:creationId xmlns:a16="http://schemas.microsoft.com/office/drawing/2014/main" id="{BA76E542-DB9C-D84A-C66E-A0AE87C4FFE0}"/>
              </a:ext>
            </a:extLst>
          </p:cNvPr>
          <p:cNvSpPr txBox="1">
            <a:spLocks noChangeArrowheads="1"/>
          </p:cNvSpPr>
          <p:nvPr userDrawn="1"/>
        </p:nvSpPr>
        <p:spPr bwMode="auto">
          <a:xfrm>
            <a:off x="647700" y="1434082"/>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001965"/>
                </a:solidFill>
                <a:latin typeface="+mn-lt"/>
                <a:cs typeface="Arial" panose="020B0604020202020204" pitchFamily="34" charset="0"/>
              </a:rPr>
              <a:t>TEXT STYLES</a:t>
            </a:r>
            <a:endParaRPr lang="en-GB" altLang="da-DK" sz="1600" b="0" noProof="1">
              <a:solidFill>
                <a:srgbClr val="001965"/>
              </a:solidFill>
              <a:latin typeface="+mn-lt"/>
              <a:cs typeface="Arial" panose="020B0604020202020204" pitchFamily="34" charset="0"/>
            </a:endParaRPr>
          </a:p>
          <a:p>
            <a:pPr eaLnBrk="1" hangingPunct="1">
              <a:spcAft>
                <a:spcPts val="600"/>
              </a:spcAft>
              <a:defRPr/>
            </a:pPr>
            <a:r>
              <a:rPr lang="en-GB" altLang="da-DK" sz="900" b="0" noProof="1">
                <a:solidFill>
                  <a:srgbClr val="001965"/>
                </a:solidFill>
                <a:latin typeface="+mn-lt"/>
                <a:cs typeface="Arial" panose="020B0604020202020204" pitchFamily="34" charset="0"/>
              </a:rPr>
              <a:t>Use the </a:t>
            </a:r>
            <a:r>
              <a:rPr lang="en-GB" altLang="da-DK" sz="900" b="1" noProof="1">
                <a:solidFill>
                  <a:srgbClr val="001965"/>
                </a:solidFill>
                <a:latin typeface="+mn-lt"/>
                <a:cs typeface="Arial" panose="020B0604020202020204" pitchFamily="34" charset="0"/>
              </a:rPr>
              <a:t>TAB</a:t>
            </a:r>
            <a:r>
              <a:rPr lang="en-GB" altLang="da-DK" sz="900" b="0" noProof="1">
                <a:solidFill>
                  <a:srgbClr val="001965"/>
                </a:solidFill>
                <a:latin typeface="+mn-lt"/>
                <a:cs typeface="Arial" panose="020B0604020202020204" pitchFamily="34" charset="0"/>
              </a:rPr>
              <a:t>-key</a:t>
            </a:r>
            <a:r>
              <a:rPr lang="en-GB" altLang="da-DK" sz="900" b="0" baseline="0" noProof="1">
                <a:solidFill>
                  <a:srgbClr val="001965"/>
                </a:solidFill>
                <a:latin typeface="+mn-lt"/>
                <a:cs typeface="Arial" panose="020B0604020202020204" pitchFamily="34" charset="0"/>
              </a:rPr>
              <a:t> to jump through levels. Click </a:t>
            </a:r>
            <a:r>
              <a:rPr lang="en-GB" altLang="da-DK" sz="900" b="1" baseline="0" noProof="1">
                <a:solidFill>
                  <a:srgbClr val="001965"/>
                </a:solidFill>
                <a:latin typeface="+mn-lt"/>
                <a:cs typeface="Arial" panose="020B0604020202020204" pitchFamily="34" charset="0"/>
              </a:rPr>
              <a:t>ENTER</a:t>
            </a:r>
            <a:r>
              <a:rPr lang="en-GB" altLang="da-DK" sz="900" b="0" baseline="0" noProof="1">
                <a:solidFill>
                  <a:srgbClr val="001965"/>
                </a:solidFill>
                <a:latin typeface="+mn-lt"/>
                <a:cs typeface="Arial" panose="020B0604020202020204" pitchFamily="34" charset="0"/>
              </a:rPr>
              <a:t>, then </a:t>
            </a:r>
            <a:r>
              <a:rPr lang="en-GB" altLang="da-DK" sz="900" b="1" baseline="0" noProof="1">
                <a:solidFill>
                  <a:srgbClr val="001965"/>
                </a:solidFill>
                <a:latin typeface="+mn-lt"/>
                <a:cs typeface="Arial" panose="020B0604020202020204" pitchFamily="34" charset="0"/>
              </a:rPr>
              <a:t>TAB</a:t>
            </a:r>
            <a:r>
              <a:rPr lang="en-GB" altLang="da-DK" sz="900" b="0" baseline="0" noProof="1">
                <a:solidFill>
                  <a:srgbClr val="001965"/>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rgbClr val="001965"/>
                </a:solidFill>
                <a:latin typeface="+mn-lt"/>
                <a:cs typeface="Arial" panose="020B0604020202020204" pitchFamily="34" charset="0"/>
              </a:rPr>
              <a:t>To go back in levels use </a:t>
            </a:r>
            <a:r>
              <a:rPr lang="en-GB" altLang="da-DK" sz="900" b="1" baseline="0" noProof="1">
                <a:solidFill>
                  <a:srgbClr val="001965"/>
                </a:solidFill>
                <a:latin typeface="+mn-lt"/>
                <a:cs typeface="Arial" panose="020B0604020202020204" pitchFamily="34" charset="0"/>
              </a:rPr>
              <a:t>SHIFT-TAB</a:t>
            </a:r>
            <a:endParaRPr lang="en-GB" sz="900" b="1" noProof="1">
              <a:solidFill>
                <a:srgbClr val="001965"/>
              </a:solidFill>
              <a:latin typeface="+mn-lt"/>
              <a:cs typeface="Arial" panose="020B0604020202020204" pitchFamily="34" charset="0"/>
            </a:endParaRPr>
          </a:p>
          <a:p>
            <a:pPr eaLnBrk="1" hangingPunct="1">
              <a:spcAft>
                <a:spcPts val="600"/>
              </a:spcAft>
              <a:defRPr/>
            </a:pPr>
            <a:r>
              <a:rPr lang="en-GB" sz="900" noProof="1">
                <a:solidFill>
                  <a:srgbClr val="001965"/>
                </a:solidFill>
                <a:latin typeface="+mn-lt"/>
                <a:cs typeface="Arial" panose="020B0604020202020204" pitchFamily="34" charset="0"/>
              </a:rPr>
              <a:t>Alternatively, </a:t>
            </a:r>
            <a:r>
              <a:rPr lang="en-GB" sz="900" b="1" noProof="1">
                <a:solidFill>
                  <a:srgbClr val="001965"/>
                </a:solidFill>
                <a:latin typeface="+mn-lt"/>
                <a:cs typeface="Arial" panose="020B0604020202020204" pitchFamily="34" charset="0"/>
              </a:rPr>
              <a:t>Increase</a:t>
            </a:r>
            <a:r>
              <a:rPr lang="en-GB" sz="900" baseline="0" noProof="1">
                <a:solidFill>
                  <a:srgbClr val="001965"/>
                </a:solidFill>
                <a:latin typeface="+mn-lt"/>
                <a:cs typeface="Arial" panose="020B0604020202020204" pitchFamily="34" charset="0"/>
              </a:rPr>
              <a:t> and </a:t>
            </a:r>
            <a:r>
              <a:rPr lang="en-GB" sz="900" b="1" baseline="0" noProof="1">
                <a:solidFill>
                  <a:srgbClr val="001965"/>
                </a:solidFill>
                <a:latin typeface="+mn-lt"/>
                <a:cs typeface="Arial" panose="020B0604020202020204" pitchFamily="34" charset="0"/>
              </a:rPr>
              <a:t>Decrease</a:t>
            </a:r>
            <a:br>
              <a:rPr lang="en-GB" sz="900" b="1" baseline="0" noProof="1">
                <a:solidFill>
                  <a:srgbClr val="001965"/>
                </a:solidFill>
                <a:latin typeface="+mn-lt"/>
                <a:cs typeface="Arial" panose="020B0604020202020204" pitchFamily="34" charset="0"/>
              </a:rPr>
            </a:br>
            <a:r>
              <a:rPr lang="en-GB" sz="900" baseline="0" noProof="1">
                <a:solidFill>
                  <a:srgbClr val="001965"/>
                </a:solidFill>
                <a:latin typeface="+mn-lt"/>
                <a:cs typeface="Arial" panose="020B0604020202020204" pitchFamily="34" charset="0"/>
              </a:rPr>
              <a:t>list level can be used</a:t>
            </a:r>
          </a:p>
          <a:p>
            <a:pPr eaLnBrk="1" hangingPunct="1">
              <a:spcAft>
                <a:spcPts val="600"/>
              </a:spcAft>
              <a:defRPr/>
            </a:pPr>
            <a:endParaRPr lang="en-GB" sz="900" baseline="0" noProof="1">
              <a:solidFill>
                <a:srgbClr val="001965"/>
              </a:solidFill>
              <a:latin typeface="+mn-lt"/>
              <a:cs typeface="Arial" panose="020B0604020202020204" pitchFamily="34" charset="0"/>
            </a:endParaRPr>
          </a:p>
          <a:p>
            <a:pPr eaLnBrk="1" hangingPunct="1">
              <a:spcAft>
                <a:spcPts val="600"/>
              </a:spcAft>
              <a:defRPr/>
            </a:pPr>
            <a:r>
              <a:rPr lang="en-GB" altLang="da-DK" sz="900" b="1" noProof="1">
                <a:solidFill>
                  <a:srgbClr val="001965"/>
                </a:solidFill>
                <a:latin typeface="+mn-lt"/>
                <a:cs typeface="Arial" panose="020B0604020202020204" pitchFamily="34" charset="0"/>
              </a:rPr>
              <a:t>HINT: </a:t>
            </a:r>
            <a:r>
              <a:rPr lang="en-GB" sz="900" b="1" noProof="1">
                <a:solidFill>
                  <a:srgbClr val="001965"/>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001965"/>
                </a:solidFill>
                <a:latin typeface="+mn-lt"/>
                <a:cs typeface="Arial" panose="020B0604020202020204" pitchFamily="34" charset="0"/>
              </a:rPr>
              <a:t>Delete bullet for regular text.</a:t>
            </a:r>
            <a:br>
              <a:rPr lang="en-GB" altLang="da-DK" sz="900" b="0"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001965"/>
                </a:solidFill>
                <a:latin typeface="+mn-lt"/>
                <a:cs typeface="Arial" panose="020B0604020202020204" pitchFamily="34" charset="0"/>
              </a:rPr>
            </a:br>
            <a:r>
              <a:rPr lang="en-GB" sz="1600">
                <a:solidFill>
                  <a:srgbClr val="001965"/>
                </a:solidFill>
                <a:latin typeface="+mn-lt"/>
                <a:cs typeface="Arial" panose="020B0604020202020204" pitchFamily="34" charset="0"/>
              </a:rPr>
              <a:t>SLIDES &amp; LAYOUTS</a:t>
            </a:r>
            <a:br>
              <a:rPr lang="en-GB" altLang="da-DK" sz="900" b="1" noProof="1">
                <a:solidFill>
                  <a:srgbClr val="001965"/>
                </a:solidFill>
                <a:latin typeface="+mn-lt"/>
                <a:cs typeface="Arial" panose="020B0604020202020204" pitchFamily="34" charset="0"/>
              </a:rPr>
            </a:br>
            <a:br>
              <a:rPr lang="en-GB" altLang="da-DK" sz="900" b="1" noProof="1">
                <a:solidFill>
                  <a:srgbClr val="001965"/>
                </a:solidFill>
                <a:latin typeface="+mn-lt"/>
                <a:cs typeface="Arial" panose="020B0604020202020204" pitchFamily="34" charset="0"/>
              </a:rPr>
            </a:br>
            <a:r>
              <a:rPr lang="en-GB" altLang="da-DK" sz="900" b="0" noProof="1">
                <a:solidFill>
                  <a:srgbClr val="001965"/>
                </a:solidFill>
                <a:latin typeface="+mn-lt"/>
                <a:cs typeface="Arial" panose="020B0604020202020204" pitchFamily="34" charset="0"/>
              </a:rPr>
              <a:t>Click on the menu </a:t>
            </a:r>
            <a:r>
              <a:rPr lang="en-GB" altLang="da-DK" sz="900" b="1" noProof="1">
                <a:solidFill>
                  <a:srgbClr val="001965"/>
                </a:solidFill>
                <a:latin typeface="+mn-lt"/>
                <a:cs typeface="Arial" panose="020B0604020202020204" pitchFamily="34" charset="0"/>
              </a:rPr>
              <a:t>New Slide </a:t>
            </a:r>
            <a:r>
              <a:rPr lang="en-GB" altLang="da-DK" sz="900" b="0" noProof="1">
                <a:solidFill>
                  <a:srgbClr val="001965"/>
                </a:solidFill>
                <a:latin typeface="+mn-lt"/>
                <a:cs typeface="Arial" panose="020B0604020202020204" pitchFamily="34" charset="0"/>
              </a:rPr>
              <a:t>in the </a:t>
            </a:r>
            <a:r>
              <a:rPr lang="en-GB" altLang="da-DK" sz="900" b="1" noProof="1">
                <a:solidFill>
                  <a:srgbClr val="001965"/>
                </a:solidFill>
                <a:latin typeface="+mn-lt"/>
                <a:cs typeface="Arial" panose="020B0604020202020204" pitchFamily="34" charset="0"/>
              </a:rPr>
              <a:t>Home</a:t>
            </a:r>
            <a:r>
              <a:rPr lang="en-GB" altLang="da-DK" sz="900" b="0" noProof="1">
                <a:solidFill>
                  <a:srgbClr val="001965"/>
                </a:solidFill>
                <a:latin typeface="+mn-lt"/>
                <a:cs typeface="Arial" panose="020B0604020202020204" pitchFamily="34" charset="0"/>
              </a:rPr>
              <a:t> tab to insert a new slide</a:t>
            </a:r>
            <a:br>
              <a:rPr lang="en-GB" altLang="da-DK" sz="900" b="0" noProof="1">
                <a:solidFill>
                  <a:srgbClr val="001965"/>
                </a:solidFill>
                <a:latin typeface="+mn-lt"/>
                <a:cs typeface="Arial" panose="020B0604020202020204" pitchFamily="34" charset="0"/>
              </a:rPr>
            </a:br>
            <a:br>
              <a:rPr lang="en-GB" altLang="da-DK" sz="900" b="0" noProof="1">
                <a:solidFill>
                  <a:srgbClr val="001965"/>
                </a:solidFill>
                <a:latin typeface="+mn-lt"/>
                <a:cs typeface="Arial" panose="020B0604020202020204" pitchFamily="34" charset="0"/>
              </a:rPr>
            </a:br>
            <a:r>
              <a:rPr lang="en-GB" altLang="da-DK" sz="900" b="1" noProof="1">
                <a:solidFill>
                  <a:srgbClr val="001965"/>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a:solidFill>
                  <a:srgbClr val="001965"/>
                </a:solidFill>
                <a:latin typeface="+mn-lt"/>
                <a:ea typeface="Arial" panose="020B0604020202020204" pitchFamily="34" charset="0"/>
                <a:cs typeface="Arial" panose="020B0604020202020204" pitchFamily="34" charset="0"/>
              </a:rPr>
              <a:t>Click on the arrow next to </a:t>
            </a:r>
            <a:r>
              <a:rPr lang="en-GB" sz="900" b="1">
                <a:solidFill>
                  <a:srgbClr val="001965"/>
                </a:solidFill>
                <a:latin typeface="+mn-lt"/>
                <a:ea typeface="Arial" panose="020B0604020202020204" pitchFamily="34" charset="0"/>
                <a:cs typeface="Arial" panose="020B0604020202020204" pitchFamily="34" charset="0"/>
              </a:rPr>
              <a:t>Layout</a:t>
            </a:r>
            <a:br>
              <a:rPr lang="en-GB" sz="900" b="1">
                <a:solidFill>
                  <a:srgbClr val="001965"/>
                </a:solidFill>
                <a:latin typeface="+mn-lt"/>
                <a:ea typeface="Arial" panose="020B0604020202020204" pitchFamily="34" charset="0"/>
                <a:cs typeface="Arial" panose="020B0604020202020204" pitchFamily="34" charset="0"/>
              </a:rPr>
            </a:br>
            <a:r>
              <a:rPr lang="en-GB" sz="900">
                <a:solidFill>
                  <a:srgbClr val="001965"/>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rgbClr val="001965"/>
                </a:solidFill>
                <a:latin typeface="+mn-lt"/>
                <a:cs typeface="Arial" panose="020B0604020202020204" pitchFamily="34" charset="0"/>
              </a:rPr>
            </a:br>
            <a:br>
              <a:rPr lang="en-GB" altLang="da-DK" sz="900" b="0" baseline="0" noProof="1">
                <a:solidFill>
                  <a:srgbClr val="001965"/>
                </a:solidFill>
                <a:latin typeface="+mn-lt"/>
                <a:cs typeface="Arial" panose="020B0604020202020204" pitchFamily="34" charset="0"/>
              </a:rPr>
            </a:br>
            <a:r>
              <a:rPr lang="en-GB" sz="900" b="1" noProof="1">
                <a:solidFill>
                  <a:srgbClr val="001965"/>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001965"/>
                </a:solidFill>
                <a:latin typeface="+mn-lt"/>
                <a:cs typeface="Arial" panose="020B0604020202020204" pitchFamily="34" charset="0"/>
              </a:rPr>
              <a:t>Click the </a:t>
            </a:r>
            <a:r>
              <a:rPr lang="en-GB" altLang="da-DK" sz="900" b="1" baseline="0" noProof="1">
                <a:solidFill>
                  <a:srgbClr val="001965"/>
                </a:solidFill>
                <a:latin typeface="+mn-lt"/>
                <a:cs typeface="Arial" panose="020B0604020202020204" pitchFamily="34" charset="0"/>
              </a:rPr>
              <a:t>Reset </a:t>
            </a:r>
            <a:r>
              <a:rPr lang="en-GB" altLang="da-DK" sz="900" noProof="1">
                <a:solidFill>
                  <a:srgbClr val="001965"/>
                </a:solidFill>
                <a:latin typeface="+mn-lt"/>
                <a:cs typeface="Arial" panose="020B0604020202020204" pitchFamily="34" charset="0"/>
              </a:rPr>
              <a:t>menu to reset position, size</a:t>
            </a:r>
            <a:r>
              <a:rPr lang="en-GB" altLang="da-DK" sz="900" baseline="0" noProof="1">
                <a:solidFill>
                  <a:srgbClr val="001965"/>
                </a:solidFill>
                <a:latin typeface="+mn-lt"/>
                <a:cs typeface="Arial" panose="020B0604020202020204" pitchFamily="34" charset="0"/>
              </a:rPr>
              <a:t> and formatting of the </a:t>
            </a:r>
            <a:br>
              <a:rPr lang="en-GB" altLang="da-DK" sz="900" baseline="0" noProof="1">
                <a:solidFill>
                  <a:srgbClr val="001965"/>
                </a:solidFill>
                <a:latin typeface="+mn-lt"/>
                <a:cs typeface="Arial" panose="020B0604020202020204" pitchFamily="34" charset="0"/>
              </a:rPr>
            </a:br>
            <a:r>
              <a:rPr lang="en-GB" altLang="da-DK" sz="900" baseline="0" noProof="1">
                <a:solidFill>
                  <a:srgbClr val="001965"/>
                </a:solidFill>
                <a:latin typeface="+mn-lt"/>
                <a:cs typeface="Arial" panose="020B0604020202020204" pitchFamily="34" charset="0"/>
              </a:rPr>
              <a:t>slide placeholders to their default settings</a:t>
            </a:r>
            <a:endParaRPr lang="en-GB" altLang="da-DK" sz="900" noProof="1">
              <a:solidFill>
                <a:srgbClr val="001965"/>
              </a:solidFill>
              <a:latin typeface="+mn-lt"/>
              <a:cs typeface="Arial" panose="020B0604020202020204" pitchFamily="34" charset="0"/>
            </a:endParaRPr>
          </a:p>
          <a:p>
            <a:pPr eaLnBrk="1" hangingPunct="1">
              <a:spcAft>
                <a:spcPts val="600"/>
              </a:spcAft>
              <a:defRPr/>
            </a:pPr>
            <a:endParaRPr lang="en-GB" altLang="da-DK" sz="900" b="0" noProof="1">
              <a:solidFill>
                <a:srgbClr val="001965"/>
              </a:solidFill>
              <a:latin typeface="+mn-lt"/>
              <a:cs typeface="Arial" panose="020B0604020202020204" pitchFamily="34" charset="0"/>
            </a:endParaRPr>
          </a:p>
        </p:txBody>
      </p:sp>
      <p:pic>
        <p:nvPicPr>
          <p:cNvPr id="7" name="Picture 2">
            <a:extLst>
              <a:ext uri="{FF2B5EF4-FFF2-40B4-BE49-F238E27FC236}">
                <a16:creationId xmlns:a16="http://schemas.microsoft.com/office/drawing/2014/main" id="{8F7E2418-BDC7-BE7A-66D4-F96CC03BAB7A}"/>
              </a:ext>
            </a:extLst>
          </p:cNvPr>
          <p:cNvPicPr>
            <a:picLocks noChangeAspect="1"/>
          </p:cNvPicPr>
          <p:nvPr userDrawn="1"/>
        </p:nvPicPr>
        <p:blipFill>
          <a:blip r:embed="rId2"/>
          <a:stretch>
            <a:fillRect/>
          </a:stretch>
        </p:blipFill>
        <p:spPr>
          <a:xfrm>
            <a:off x="2967579" y="3143286"/>
            <a:ext cx="257143" cy="285714"/>
          </a:xfrm>
          <a:prstGeom prst="rect">
            <a:avLst/>
          </a:prstGeom>
        </p:spPr>
      </p:pic>
      <p:pic>
        <p:nvPicPr>
          <p:cNvPr id="8" name="Picture 29">
            <a:extLst>
              <a:ext uri="{FF2B5EF4-FFF2-40B4-BE49-F238E27FC236}">
                <a16:creationId xmlns:a16="http://schemas.microsoft.com/office/drawing/2014/main" id="{12752743-2485-3862-B5EC-789D88B1C9EA}"/>
              </a:ext>
            </a:extLst>
          </p:cNvPr>
          <p:cNvPicPr>
            <a:picLocks noChangeAspect="1"/>
          </p:cNvPicPr>
          <p:nvPr userDrawn="1"/>
        </p:nvPicPr>
        <p:blipFill>
          <a:blip r:embed="rId3"/>
          <a:stretch>
            <a:fillRect/>
          </a:stretch>
        </p:blipFill>
        <p:spPr>
          <a:xfrm>
            <a:off x="2968120" y="2420103"/>
            <a:ext cx="457143" cy="257143"/>
          </a:xfrm>
          <a:prstGeom prst="rect">
            <a:avLst/>
          </a:prstGeom>
        </p:spPr>
      </p:pic>
      <p:pic>
        <p:nvPicPr>
          <p:cNvPr id="9" name="Picture 33">
            <a:extLst>
              <a:ext uri="{FF2B5EF4-FFF2-40B4-BE49-F238E27FC236}">
                <a16:creationId xmlns:a16="http://schemas.microsoft.com/office/drawing/2014/main" id="{0E9AB818-AB04-348D-8000-48224FE3FB64}"/>
              </a:ext>
            </a:extLst>
          </p:cNvPr>
          <p:cNvPicPr>
            <a:picLocks noChangeAspect="1"/>
          </p:cNvPicPr>
          <p:nvPr userDrawn="1"/>
        </p:nvPicPr>
        <p:blipFill rotWithShape="1">
          <a:blip r:embed="rId4"/>
          <a:srcRect l="3901" t="45142" r="62601" b="9046"/>
          <a:stretch/>
        </p:blipFill>
        <p:spPr>
          <a:xfrm>
            <a:off x="7254412" y="2939262"/>
            <a:ext cx="341204" cy="321707"/>
          </a:xfrm>
          <a:prstGeom prst="rect">
            <a:avLst/>
          </a:prstGeom>
        </p:spPr>
      </p:pic>
      <p:pic>
        <p:nvPicPr>
          <p:cNvPr id="10" name="Picture 16">
            <a:extLst>
              <a:ext uri="{FF2B5EF4-FFF2-40B4-BE49-F238E27FC236}">
                <a16:creationId xmlns:a16="http://schemas.microsoft.com/office/drawing/2014/main" id="{92365D11-E7F8-7109-B971-EED59FB60BC3}"/>
              </a:ext>
            </a:extLst>
          </p:cNvPr>
          <p:cNvPicPr>
            <a:picLocks noChangeAspect="1"/>
          </p:cNvPicPr>
          <p:nvPr userDrawn="1"/>
        </p:nvPicPr>
        <p:blipFill>
          <a:blip r:embed="rId5"/>
          <a:stretch>
            <a:fillRect/>
          </a:stretch>
        </p:blipFill>
        <p:spPr>
          <a:xfrm>
            <a:off x="2974001" y="4133838"/>
            <a:ext cx="328881" cy="505501"/>
          </a:xfrm>
          <a:prstGeom prst="rect">
            <a:avLst/>
          </a:prstGeom>
        </p:spPr>
      </p:pic>
      <p:pic>
        <p:nvPicPr>
          <p:cNvPr id="11" name="Picture 20">
            <a:extLst>
              <a:ext uri="{FF2B5EF4-FFF2-40B4-BE49-F238E27FC236}">
                <a16:creationId xmlns:a16="http://schemas.microsoft.com/office/drawing/2014/main" id="{FB15E05D-9E3B-A123-4428-C4E65ACB7E2A}"/>
              </a:ext>
            </a:extLst>
          </p:cNvPr>
          <p:cNvPicPr>
            <a:picLocks noChangeAspect="1"/>
          </p:cNvPicPr>
          <p:nvPr userDrawn="1"/>
        </p:nvPicPr>
        <p:blipFill>
          <a:blip r:embed="rId6"/>
          <a:stretch>
            <a:fillRect/>
          </a:stretch>
        </p:blipFill>
        <p:spPr>
          <a:xfrm>
            <a:off x="2974001" y="5461991"/>
            <a:ext cx="538465" cy="172841"/>
          </a:xfrm>
          <a:prstGeom prst="rect">
            <a:avLst/>
          </a:prstGeom>
        </p:spPr>
      </p:pic>
      <p:pic>
        <p:nvPicPr>
          <p:cNvPr id="12" name="Picture 19">
            <a:extLst>
              <a:ext uri="{FF2B5EF4-FFF2-40B4-BE49-F238E27FC236}">
                <a16:creationId xmlns:a16="http://schemas.microsoft.com/office/drawing/2014/main" id="{BD89D20E-1919-3687-114A-C7E9F348C9AB}"/>
              </a:ext>
            </a:extLst>
          </p:cNvPr>
          <p:cNvPicPr>
            <a:picLocks noChangeAspect="1"/>
          </p:cNvPicPr>
          <p:nvPr userDrawn="1"/>
        </p:nvPicPr>
        <p:blipFill>
          <a:blip r:embed="rId7"/>
          <a:stretch>
            <a:fillRect/>
          </a:stretch>
        </p:blipFill>
        <p:spPr>
          <a:xfrm>
            <a:off x="7310433" y="3749002"/>
            <a:ext cx="313788" cy="543900"/>
          </a:xfrm>
          <a:prstGeom prst="rect">
            <a:avLst/>
          </a:prstGeom>
        </p:spPr>
      </p:pic>
      <p:sp>
        <p:nvSpPr>
          <p:cNvPr id="13" name="Text Box 4">
            <a:extLst>
              <a:ext uri="{FF2B5EF4-FFF2-40B4-BE49-F238E27FC236}">
                <a16:creationId xmlns:a16="http://schemas.microsoft.com/office/drawing/2014/main" id="{DAFE49F7-8BE5-96E8-15D6-5BCD09854B5B}"/>
              </a:ext>
            </a:extLst>
          </p:cNvPr>
          <p:cNvSpPr txBox="1">
            <a:spLocks noChangeArrowheads="1"/>
          </p:cNvSpPr>
          <p:nvPr userDrawn="1"/>
        </p:nvSpPr>
        <p:spPr bwMode="auto">
          <a:xfrm>
            <a:off x="8729773" y="1428452"/>
            <a:ext cx="2358243"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a:ea typeface="+mn-ea"/>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Insert predefined slides and elements. Click the blue </a:t>
            </a:r>
            <a:r>
              <a:rPr kumimoji="0" lang="en-GB"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Templafy </a:t>
            </a:r>
            <a:r>
              <a:rPr kumimoji="0" lang="en-GB"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button and choose </a:t>
            </a:r>
            <a:r>
              <a:rPr kumimoji="0" lang="en-GB"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Slides</a:t>
            </a:r>
            <a:r>
              <a:rPr kumimoji="0" lang="en-GB"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 and </a:t>
            </a:r>
            <a:r>
              <a:rPr kumimoji="0" lang="en-GB" altLang="da-DK" sz="900" b="1"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Slide elements </a:t>
            </a:r>
            <a:r>
              <a:rPr kumimoji="0" lang="en-GB"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in the Templafy pane on the right side of the screen.</a:t>
            </a:r>
            <a:br>
              <a:rPr kumimoji="0" lang="en-GB" altLang="da-DK" sz="1600" b="0" i="0" u="none" strike="noStrike" kern="1200" cap="none" spc="0" normalizeH="0" baseline="0" noProof="1">
                <a:ln>
                  <a:noFill/>
                </a:ln>
                <a:solidFill>
                  <a:srgbClr val="001965"/>
                </a:solidFill>
                <a:effectLst/>
                <a:uLnTx/>
                <a:uFillTx/>
                <a:latin typeface="+mn-lt"/>
                <a:ea typeface="+mn-ea"/>
                <a:cs typeface="Arial" panose="020B0604020202020204" pitchFamily="34" charset="0"/>
              </a:rPr>
            </a:br>
            <a:endParaRPr lang="en-GB" sz="1600">
              <a:solidFill>
                <a:srgbClr val="001965"/>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001965"/>
                </a:solidFill>
                <a:latin typeface="+mn-lt"/>
                <a:cs typeface="Arial" panose="020B0604020202020204" pitchFamily="34" charset="0"/>
              </a:rPr>
              <a:t>HEADER &amp; FOOTER</a:t>
            </a:r>
          </a:p>
          <a:p>
            <a:pPr eaLnBrk="1" hangingPunct="1">
              <a:spcAft>
                <a:spcPts val="600"/>
              </a:spcAft>
              <a:defRPr/>
            </a:pPr>
            <a:r>
              <a:rPr lang="en-GB" altLang="da-DK" sz="900" b="0" noProof="1">
                <a:solidFill>
                  <a:srgbClr val="001965"/>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rgbClr val="001965"/>
                </a:solidFill>
                <a:latin typeface="+mn-lt"/>
                <a:cs typeface="Arial" panose="020B0604020202020204" pitchFamily="34" charset="0"/>
              </a:rPr>
              <a:t>Click on </a:t>
            </a:r>
            <a:r>
              <a:rPr lang="en-GB" altLang="da-DK" sz="900" b="1" noProof="1">
                <a:solidFill>
                  <a:srgbClr val="001965"/>
                </a:solidFill>
                <a:latin typeface="+mn-lt"/>
                <a:cs typeface="Arial" panose="020B0604020202020204" pitchFamily="34" charset="0"/>
              </a:rPr>
              <a:t>Header and Footer </a:t>
            </a:r>
            <a:r>
              <a:rPr lang="en-GB" altLang="da-DK" sz="900" b="0" noProof="1">
                <a:solidFill>
                  <a:srgbClr val="001965"/>
                </a:solidFill>
                <a:latin typeface="+mn-lt"/>
                <a:cs typeface="Arial" panose="020B0604020202020204" pitchFamily="34" charset="0"/>
              </a:rPr>
              <a:t>in the </a:t>
            </a:r>
            <a:r>
              <a:rPr lang="en-GB" altLang="da-DK" sz="900" b="1" noProof="1">
                <a:solidFill>
                  <a:srgbClr val="001965"/>
                </a:solidFill>
                <a:latin typeface="+mn-lt"/>
                <a:cs typeface="Arial" panose="020B0604020202020204" pitchFamily="34" charset="0"/>
              </a:rPr>
              <a:t>Insert</a:t>
            </a:r>
            <a:r>
              <a:rPr lang="en-GB" altLang="da-DK" sz="900" b="0" noProof="1">
                <a:solidFill>
                  <a:srgbClr val="001965"/>
                </a:solidFill>
                <a:latin typeface="+mn-lt"/>
                <a:cs typeface="Arial" panose="020B0604020202020204" pitchFamily="34" charset="0"/>
              </a:rPr>
              <a:t> tab (write the desired text)</a:t>
            </a:r>
          </a:p>
          <a:p>
            <a:pPr eaLnBrk="1" hangingPunct="1">
              <a:spcAft>
                <a:spcPts val="600"/>
              </a:spcAft>
              <a:defRPr/>
            </a:pPr>
            <a:r>
              <a:rPr lang="en-GB" altLang="da-DK" sz="900" b="0" noProof="1">
                <a:solidFill>
                  <a:srgbClr val="001965"/>
                </a:solidFill>
                <a:latin typeface="+mn-lt"/>
                <a:cs typeface="Arial" panose="020B0604020202020204" pitchFamily="34" charset="0"/>
              </a:rPr>
              <a:t>Click </a:t>
            </a:r>
            <a:r>
              <a:rPr lang="en-GB" altLang="da-DK" sz="900" b="1" noProof="1">
                <a:solidFill>
                  <a:srgbClr val="001965"/>
                </a:solidFill>
                <a:latin typeface="+mn-lt"/>
                <a:cs typeface="Arial" panose="020B0604020202020204" pitchFamily="34" charset="0"/>
              </a:rPr>
              <a:t>Apply to All </a:t>
            </a:r>
            <a:r>
              <a:rPr lang="en-GB" altLang="da-DK" sz="900" b="0" noProof="1">
                <a:solidFill>
                  <a:srgbClr val="001965"/>
                </a:solidFill>
                <a:latin typeface="+mn-lt"/>
                <a:cs typeface="Arial" panose="020B0604020202020204" pitchFamily="34" charset="0"/>
              </a:rPr>
              <a:t>or </a:t>
            </a:r>
            <a:r>
              <a:rPr lang="en-GB" altLang="da-DK" sz="900" b="1" noProof="1">
                <a:solidFill>
                  <a:srgbClr val="001965"/>
                </a:solidFill>
                <a:latin typeface="+mn-lt"/>
                <a:cs typeface="Arial" panose="020B0604020202020204" pitchFamily="34" charset="0"/>
              </a:rPr>
              <a:t>Apply</a:t>
            </a:r>
            <a:r>
              <a:rPr lang="en-GB" altLang="da-DK" sz="900" b="0" noProof="1">
                <a:solidFill>
                  <a:srgbClr val="001965"/>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001965"/>
                </a:solidFill>
                <a:latin typeface="+mn-lt"/>
                <a:cs typeface="Arial" panose="020B0604020202020204" pitchFamily="34" charset="0"/>
              </a:rPr>
              <a:t>GRIDLINES</a:t>
            </a:r>
            <a:endParaRPr lang="en-GB" sz="1600" b="1" noProof="1">
              <a:solidFill>
                <a:srgbClr val="001965"/>
              </a:solidFill>
              <a:latin typeface="+mn-lt"/>
              <a:cs typeface="Arial" panose="020B0604020202020204" pitchFamily="34" charset="0"/>
            </a:endParaRPr>
          </a:p>
          <a:p>
            <a:pPr eaLnBrk="1" hangingPunct="1">
              <a:spcAft>
                <a:spcPts val="600"/>
              </a:spcAft>
              <a:defRPr/>
            </a:pPr>
            <a:r>
              <a:rPr lang="en-GB" altLang="da-DK" sz="900" b="0" noProof="1">
                <a:solidFill>
                  <a:srgbClr val="001965"/>
                </a:solidFill>
                <a:latin typeface="+mn-lt"/>
                <a:cs typeface="Arial" panose="020B0604020202020204" pitchFamily="34" charset="0"/>
              </a:rPr>
              <a:t>Click the </a:t>
            </a:r>
            <a:r>
              <a:rPr lang="en-GB" altLang="da-DK" sz="900" b="1" noProof="1">
                <a:solidFill>
                  <a:srgbClr val="001965"/>
                </a:solidFill>
                <a:latin typeface="+mn-lt"/>
                <a:cs typeface="Arial" panose="020B0604020202020204" pitchFamily="34" charset="0"/>
              </a:rPr>
              <a:t>View</a:t>
            </a:r>
            <a:r>
              <a:rPr lang="en-GB" altLang="da-DK" sz="900" b="0" noProof="1">
                <a:solidFill>
                  <a:srgbClr val="001965"/>
                </a:solidFill>
                <a:latin typeface="+mn-lt"/>
                <a:cs typeface="Arial" panose="020B0604020202020204" pitchFamily="34" charset="0"/>
              </a:rPr>
              <a:t> tab and set tick mark next to </a:t>
            </a:r>
            <a:r>
              <a:rPr lang="en-GB" altLang="da-DK" sz="900" b="1" noProof="1">
                <a:solidFill>
                  <a:srgbClr val="001965"/>
                </a:solidFill>
                <a:latin typeface="+mn-lt"/>
                <a:cs typeface="Arial" panose="020B0604020202020204" pitchFamily="34" charset="0"/>
              </a:rPr>
              <a:t>Guides</a:t>
            </a:r>
            <a:endParaRPr lang="en-GB" altLang="da-DK" sz="900" b="0" noProof="1">
              <a:solidFill>
                <a:srgbClr val="001965"/>
              </a:solidFill>
              <a:latin typeface="+mn-lt"/>
              <a:cs typeface="Arial" panose="020B0604020202020204" pitchFamily="34" charset="0"/>
            </a:endParaRPr>
          </a:p>
          <a:p>
            <a:pPr eaLnBrk="1" hangingPunct="1">
              <a:spcAft>
                <a:spcPts val="600"/>
              </a:spcAft>
              <a:defRPr/>
            </a:pPr>
            <a:r>
              <a:rPr lang="en-GB" altLang="da-DK" sz="900" b="1" noProof="1">
                <a:solidFill>
                  <a:srgbClr val="001965"/>
                </a:solidFill>
                <a:latin typeface="+mn-lt"/>
                <a:cs typeface="Arial" panose="020B0604020202020204" pitchFamily="34" charset="0"/>
              </a:rPr>
              <a:t>HINT: Alt + F9 </a:t>
            </a:r>
            <a:r>
              <a:rPr lang="en-GB" altLang="da-DK" sz="900" b="0" noProof="1">
                <a:solidFill>
                  <a:srgbClr val="001965"/>
                </a:solidFill>
                <a:latin typeface="+mn-lt"/>
                <a:cs typeface="Arial" panose="020B0604020202020204" pitchFamily="34" charset="0"/>
              </a:rPr>
              <a:t>for quick view of guides</a:t>
            </a:r>
          </a:p>
          <a:p>
            <a:pPr eaLnBrk="1" hangingPunct="1">
              <a:spcAft>
                <a:spcPts val="600"/>
              </a:spcAft>
              <a:defRPr/>
            </a:pPr>
            <a:endParaRPr lang="en-GB" altLang="da-DK" sz="900" b="0" noProof="1">
              <a:solidFill>
                <a:srgbClr val="001965"/>
              </a:solidFill>
              <a:latin typeface="+mn-lt"/>
              <a:cs typeface="Arial" panose="020B0604020202020204" pitchFamily="34" charset="0"/>
            </a:endParaRPr>
          </a:p>
        </p:txBody>
      </p:sp>
      <p:sp>
        <p:nvSpPr>
          <p:cNvPr id="14" name="Fast overskrift">
            <a:extLst>
              <a:ext uri="{FF2B5EF4-FFF2-40B4-BE49-F238E27FC236}">
                <a16:creationId xmlns:a16="http://schemas.microsoft.com/office/drawing/2014/main" id="{8E33FDE5-8E17-7F8D-BC99-486DA774F52E}"/>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rgbClr val="001965"/>
                </a:solidFill>
                <a:latin typeface="+mj-lt"/>
                <a:cs typeface="Arial" panose="020B0604020202020204" pitchFamily="34" charset="0"/>
              </a:rPr>
              <a:t>TIPS &amp; TRICKS - YOUR USER GUIDE</a:t>
            </a:r>
          </a:p>
        </p:txBody>
      </p:sp>
      <p:pic>
        <p:nvPicPr>
          <p:cNvPr id="15" name="Picture 14">
            <a:extLst>
              <a:ext uri="{FF2B5EF4-FFF2-40B4-BE49-F238E27FC236}">
                <a16:creationId xmlns:a16="http://schemas.microsoft.com/office/drawing/2014/main" id="{53892759-C4B6-4BDD-8735-886F2E05EE19}"/>
              </a:ext>
            </a:extLst>
          </p:cNvPr>
          <p:cNvPicPr>
            <a:picLocks noChangeAspect="1"/>
          </p:cNvPicPr>
          <p:nvPr userDrawn="1"/>
        </p:nvPicPr>
        <p:blipFill>
          <a:blip r:embed="rId8"/>
          <a:stretch>
            <a:fillRect/>
          </a:stretch>
        </p:blipFill>
        <p:spPr>
          <a:xfrm>
            <a:off x="2974000" y="4897450"/>
            <a:ext cx="475428" cy="176762"/>
          </a:xfrm>
          <a:prstGeom prst="rect">
            <a:avLst/>
          </a:prstGeom>
        </p:spPr>
      </p:pic>
      <p:pic>
        <p:nvPicPr>
          <p:cNvPr id="16" name="Picture 15">
            <a:extLst>
              <a:ext uri="{FF2B5EF4-FFF2-40B4-BE49-F238E27FC236}">
                <a16:creationId xmlns:a16="http://schemas.microsoft.com/office/drawing/2014/main" id="{A1740165-4EB8-F65C-8E17-DF7AB9E572E5}"/>
              </a:ext>
            </a:extLst>
          </p:cNvPr>
          <p:cNvPicPr>
            <a:picLocks noChangeAspect="1"/>
          </p:cNvPicPr>
          <p:nvPr userDrawn="1"/>
        </p:nvPicPr>
        <p:blipFill>
          <a:blip r:embed="rId9"/>
          <a:srcRect r="6029" b="2593"/>
          <a:stretch/>
        </p:blipFill>
        <p:spPr>
          <a:xfrm>
            <a:off x="7183300" y="1664025"/>
            <a:ext cx="1046300" cy="519148"/>
          </a:xfrm>
          <a:prstGeom prst="rect">
            <a:avLst/>
          </a:prstGeom>
        </p:spPr>
      </p:pic>
      <p:pic>
        <p:nvPicPr>
          <p:cNvPr id="17" name="Picture 16">
            <a:extLst>
              <a:ext uri="{FF2B5EF4-FFF2-40B4-BE49-F238E27FC236}">
                <a16:creationId xmlns:a16="http://schemas.microsoft.com/office/drawing/2014/main" id="{83B219DD-4D39-78A1-267E-BE359226E017}"/>
              </a:ext>
            </a:extLst>
          </p:cNvPr>
          <p:cNvPicPr>
            <a:picLocks noChangeAspect="1"/>
          </p:cNvPicPr>
          <p:nvPr userDrawn="1"/>
        </p:nvPicPr>
        <p:blipFill>
          <a:blip r:embed="rId9"/>
          <a:srcRect r="69458" b="2593"/>
          <a:stretch/>
        </p:blipFill>
        <p:spPr>
          <a:xfrm>
            <a:off x="7183300" y="5730260"/>
            <a:ext cx="340068" cy="519148"/>
          </a:xfrm>
          <a:prstGeom prst="rect">
            <a:avLst/>
          </a:prstGeom>
        </p:spPr>
      </p:pic>
      <p:pic>
        <p:nvPicPr>
          <p:cNvPr id="18" name="Picture 17">
            <a:extLst>
              <a:ext uri="{FF2B5EF4-FFF2-40B4-BE49-F238E27FC236}">
                <a16:creationId xmlns:a16="http://schemas.microsoft.com/office/drawing/2014/main" id="{64B48F98-737E-2B07-5676-868E5F9E8A46}"/>
              </a:ext>
            </a:extLst>
          </p:cNvPr>
          <p:cNvPicPr>
            <a:picLocks noChangeAspect="1"/>
          </p:cNvPicPr>
          <p:nvPr userDrawn="1"/>
        </p:nvPicPr>
        <p:blipFill>
          <a:blip r:embed="rId9"/>
          <a:srcRect r="69458" b="2593"/>
          <a:stretch/>
        </p:blipFill>
        <p:spPr>
          <a:xfrm>
            <a:off x="11021150" y="1980243"/>
            <a:ext cx="340068" cy="519148"/>
          </a:xfrm>
          <a:prstGeom prst="rect">
            <a:avLst/>
          </a:prstGeom>
        </p:spPr>
      </p:pic>
      <p:sp>
        <p:nvSpPr>
          <p:cNvPr id="19" name="Text Box 4">
            <a:extLst>
              <a:ext uri="{FF2B5EF4-FFF2-40B4-BE49-F238E27FC236}">
                <a16:creationId xmlns:a16="http://schemas.microsoft.com/office/drawing/2014/main" id="{53B1BADF-59C2-569F-DD8D-299311735FE8}"/>
              </a:ext>
            </a:extLst>
          </p:cNvPr>
          <p:cNvSpPr txBox="1">
            <a:spLocks noChangeArrowheads="1"/>
          </p:cNvSpPr>
          <p:nvPr userDrawn="1"/>
        </p:nvSpPr>
        <p:spPr bwMode="auto">
          <a:xfrm>
            <a:off x="4464659" y="5461991"/>
            <a:ext cx="2358243"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1965"/>
                </a:solidFill>
                <a:effectLst/>
                <a:uLnTx/>
                <a:uFillTx/>
                <a:latin typeface="Apis For Office"/>
                <a:ea typeface="+mn-ea"/>
                <a:cs typeface="Arial" panose="020B0604020202020204" pitchFamily="34" charset="0"/>
              </a:rPr>
              <a:t>TEMPLAT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001965"/>
                </a:solidFill>
                <a:latin typeface="+mn-lt"/>
                <a:cs typeface="Arial" panose="020B0604020202020204" pitchFamily="34" charset="0"/>
              </a:rPr>
              <a:t>Click the blue </a:t>
            </a:r>
            <a:r>
              <a:rPr lang="en-GB" altLang="da-DK" sz="900" b="1" baseline="0" noProof="1">
                <a:solidFill>
                  <a:srgbClr val="001965"/>
                </a:solidFill>
                <a:latin typeface="+mn-lt"/>
                <a:cs typeface="Arial" panose="020B0604020202020204" pitchFamily="34" charset="0"/>
              </a:rPr>
              <a:t>Templafy </a:t>
            </a:r>
            <a:r>
              <a:rPr lang="en-GB" altLang="da-DK" sz="900" b="0" baseline="0" noProof="1">
                <a:solidFill>
                  <a:srgbClr val="001965"/>
                </a:solidFill>
                <a:latin typeface="+mn-lt"/>
                <a:cs typeface="Arial" panose="020B0604020202020204" pitchFamily="34" charset="0"/>
              </a:rPr>
              <a:t>button and click on ‘Find template’ in the bottom of the Templafy pane on the right side of the screen</a:t>
            </a:r>
            <a:r>
              <a:rPr kumimoji="0" lang="en-GB" altLang="da-DK" sz="900" b="0" i="0" u="none" strike="noStrike" kern="1200" cap="none" spc="0" normalizeH="0" baseline="0" noProof="1">
                <a:ln>
                  <a:noFill/>
                </a:ln>
                <a:solidFill>
                  <a:srgbClr val="001965"/>
                </a:solidFill>
                <a:effectLst/>
                <a:uLnTx/>
                <a:uFillTx/>
                <a:latin typeface="Apis For Office"/>
                <a:ea typeface="+mn-ea"/>
                <a:cs typeface="Arial" panose="020B0604020202020204" pitchFamily="34" charset="0"/>
              </a:rPr>
              <a:t>.</a:t>
            </a:r>
            <a:endParaRPr lang="en-GB" altLang="da-DK" sz="900" b="1" noProof="1">
              <a:solidFill>
                <a:srgbClr val="001965"/>
              </a:solidFill>
              <a:latin typeface="+mn-lt"/>
              <a:cs typeface="Arial" panose="020B0604020202020204" pitchFamily="34" charset="0"/>
            </a:endParaRPr>
          </a:p>
        </p:txBody>
      </p:sp>
    </p:spTree>
    <p:extLst>
      <p:ext uri="{BB962C8B-B14F-4D97-AF65-F5344CB8AC3E}">
        <p14:creationId xmlns:p14="http://schemas.microsoft.com/office/powerpoint/2010/main" val="21582529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653146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ection slide">
    <p:spTree>
      <p:nvGrpSpPr>
        <p:cNvPr id="1" name=""/>
        <p:cNvGrpSpPr/>
        <p:nvPr/>
      </p:nvGrpSpPr>
      <p:grpSpPr>
        <a:xfrm>
          <a:off x="0" y="0"/>
          <a:ext cx="0" cy="0"/>
          <a:chOff x="0" y="0"/>
          <a:chExt cx="0" cy="0"/>
        </a:xfrm>
      </p:grpSpPr>
      <p:pic>
        <p:nvPicPr>
          <p:cNvPr id="4" name="Picture 3" descr="A blue and white rectangles&#10;&#10;AI-generated content may be incorrect.">
            <a:extLst>
              <a:ext uri="{FF2B5EF4-FFF2-40B4-BE49-F238E27FC236}">
                <a16:creationId xmlns:a16="http://schemas.microsoft.com/office/drawing/2014/main" id="{0549F703-F070-CF43-AF19-F5D218F34C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E98E622C-5CFE-7B9B-B080-2F76EB15A5D7}"/>
              </a:ext>
            </a:extLst>
          </p:cNvPr>
          <p:cNvSpPr>
            <a:spLocks noGrp="1"/>
          </p:cNvSpPr>
          <p:nvPr>
            <p:ph type="ctrTitle" hasCustomPrompt="1"/>
          </p:nvPr>
        </p:nvSpPr>
        <p:spPr>
          <a:xfrm>
            <a:off x="4160749" y="2150534"/>
            <a:ext cx="7057321" cy="1931049"/>
          </a:xfrm>
        </p:spPr>
        <p:txBody>
          <a:bodyPr tIns="91440" bIns="91440" anchor="b" anchorCtr="0"/>
          <a:lstStyle>
            <a:lvl1pPr algn="r">
              <a:lnSpc>
                <a:spcPct val="100000"/>
              </a:lnSpc>
              <a:defRPr sz="4000">
                <a:solidFill>
                  <a:schemeClr val="tx2"/>
                </a:solidFill>
                <a:latin typeface="+mj-lt"/>
              </a:defRPr>
            </a:lvl1pPr>
          </a:lstStyle>
          <a:p>
            <a:r>
              <a:rPr lang="en-GB"/>
              <a:t>Click to add title</a:t>
            </a:r>
          </a:p>
        </p:txBody>
      </p:sp>
      <p:sp>
        <p:nvSpPr>
          <p:cNvPr id="6" name="TextBox 5">
            <a:extLst>
              <a:ext uri="{FF2B5EF4-FFF2-40B4-BE49-F238E27FC236}">
                <a16:creationId xmlns:a16="http://schemas.microsoft.com/office/drawing/2014/main" id="{445D08B4-A38A-69AC-104C-89BEFF95D8B0}"/>
              </a:ext>
            </a:extLst>
          </p:cNvPr>
          <p:cNvSpPr txBox="1"/>
          <p:nvPr userDrawn="1"/>
        </p:nvSpPr>
        <p:spPr>
          <a:xfrm>
            <a:off x="11218070" y="324001"/>
            <a:ext cx="648495" cy="107722"/>
          </a:xfrm>
          <a:prstGeom prst="rect">
            <a:avLst/>
          </a:prstGeom>
          <a:noFill/>
        </p:spPr>
        <p:txBody>
          <a:bodyPr wrap="square" lIns="0" tIns="0" rIns="0" bIns="0" rtlCol="0">
            <a:spAutoFit/>
          </a:bodyPr>
          <a:lstStyle/>
          <a:p>
            <a:pPr algn="r"/>
            <a:r>
              <a:rPr lang="en-GB" sz="700">
                <a:solidFill>
                  <a:schemeClr val="tx2"/>
                </a:solidFill>
              </a:rPr>
              <a:t>Novo Nordisk</a:t>
            </a:r>
            <a:r>
              <a:rPr lang="en-GB" sz="700" baseline="30000">
                <a:solidFill>
                  <a:schemeClr val="tx2"/>
                </a:solidFill>
              </a:rPr>
              <a:t>®</a:t>
            </a:r>
          </a:p>
        </p:txBody>
      </p:sp>
    </p:spTree>
    <p:extLst>
      <p:ext uri="{BB962C8B-B14F-4D97-AF65-F5344CB8AC3E}">
        <p14:creationId xmlns:p14="http://schemas.microsoft.com/office/powerpoint/2010/main" val="19283960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A. Content_no 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8" y="6163820"/>
            <a:ext cx="10895999" cy="324000"/>
          </a:xfrm>
        </p:spPr>
        <p:txBody>
          <a:bodyPr anchor="b"/>
          <a:lstStyle>
            <a:lvl1pPr marL="0" indent="0">
              <a:buNone/>
              <a:defRPr sz="800" i="1">
                <a:solidFill>
                  <a:schemeClr val="accent6"/>
                </a:solidFill>
              </a:defRPr>
            </a:lvl1pPr>
          </a:lstStyle>
          <a:p>
            <a:pPr lvl="0"/>
            <a:r>
              <a:rPr lang="en-GB"/>
              <a:t>Insert notes</a:t>
            </a:r>
          </a:p>
        </p:txBody>
      </p:sp>
      <p:sp>
        <p:nvSpPr>
          <p:cNvPr id="4" name="Rectangle 3">
            <a:extLst>
              <a:ext uri="{FF2B5EF4-FFF2-40B4-BE49-F238E27FC236}">
                <a16:creationId xmlns:a16="http://schemas.microsoft.com/office/drawing/2014/main" id="{1AD7568E-AB51-9AE9-2227-3B6EFC3F1E20}"/>
              </a:ext>
            </a:extLst>
          </p:cNvPr>
          <p:cNvSpPr/>
          <p:nvPr userDrawn="1"/>
        </p:nvSpPr>
        <p:spPr>
          <a:xfrm>
            <a:off x="605563" y="54501"/>
            <a:ext cx="11087857" cy="242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5" name="Rectangle 4">
            <a:extLst>
              <a:ext uri="{FF2B5EF4-FFF2-40B4-BE49-F238E27FC236}">
                <a16:creationId xmlns:a16="http://schemas.microsoft.com/office/drawing/2014/main" id="{4D7D3CA4-82F2-A57C-2B08-23DB13C850A4}"/>
              </a:ext>
            </a:extLst>
          </p:cNvPr>
          <p:cNvSpPr/>
          <p:nvPr userDrawn="1"/>
        </p:nvSpPr>
        <p:spPr>
          <a:xfrm>
            <a:off x="605564" y="230137"/>
            <a:ext cx="10573128" cy="242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Tree>
    <p:extLst>
      <p:ext uri="{BB962C8B-B14F-4D97-AF65-F5344CB8AC3E}">
        <p14:creationId xmlns:p14="http://schemas.microsoft.com/office/powerpoint/2010/main" val="21341715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806133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 Cov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8B4C608-FB3B-5FA6-5CC6-AFD227EBD1F0}"/>
              </a:ext>
            </a:extLst>
          </p:cNvPr>
          <p:cNvSpPr>
            <a:spLocks noGrp="1"/>
          </p:cNvSpPr>
          <p:nvPr>
            <p:ph type="pic" sz="quarter" idx="18" hasCustomPrompt="1"/>
          </p:nvPr>
        </p:nvSpPr>
        <p:spPr>
          <a:xfrm>
            <a:off x="5136000" y="324000"/>
            <a:ext cx="6730700" cy="6210000"/>
          </a:xfrm>
          <a:custGeom>
            <a:avLst/>
            <a:gdLst>
              <a:gd name="csX0" fmla="*/ 6217885 w 6730700"/>
              <a:gd name="csY0" fmla="*/ 721963 h 6210000"/>
              <a:gd name="csX1" fmla="*/ 6229568 w 6730700"/>
              <a:gd name="csY1" fmla="*/ 725950 h 6210000"/>
              <a:gd name="csX2" fmla="*/ 6229568 w 6730700"/>
              <a:gd name="csY2" fmla="*/ 769003 h 6210000"/>
              <a:gd name="csX3" fmla="*/ 6229450 w 6730700"/>
              <a:gd name="csY3" fmla="*/ 769003 h 6210000"/>
              <a:gd name="csX4" fmla="*/ 6218704 w 6730700"/>
              <a:gd name="csY4" fmla="*/ 773927 h 6210000"/>
              <a:gd name="csX5" fmla="*/ 6198494 w 6730700"/>
              <a:gd name="csY5" fmla="*/ 746949 h 6210000"/>
              <a:gd name="csX6" fmla="*/ 6217885 w 6730700"/>
              <a:gd name="csY6" fmla="*/ 721963 h 6210000"/>
              <a:gd name="csX7" fmla="*/ 6114913 w 6730700"/>
              <a:gd name="csY7" fmla="*/ 721223 h 6210000"/>
              <a:gd name="csX8" fmla="*/ 6125669 w 6730700"/>
              <a:gd name="csY8" fmla="*/ 725328 h 6210000"/>
              <a:gd name="csX9" fmla="*/ 6131402 w 6730700"/>
              <a:gd name="csY9" fmla="*/ 747748 h 6210000"/>
              <a:gd name="csX10" fmla="*/ 6125669 w 6730700"/>
              <a:gd name="csY10" fmla="*/ 770049 h 6210000"/>
              <a:gd name="csX11" fmla="*/ 6114913 w 6730700"/>
              <a:gd name="csY11" fmla="*/ 774036 h 6210000"/>
              <a:gd name="csX12" fmla="*/ 6104394 w 6730700"/>
              <a:gd name="csY12" fmla="*/ 770049 h 6210000"/>
              <a:gd name="csX13" fmla="*/ 6098660 w 6730700"/>
              <a:gd name="csY13" fmla="*/ 747748 h 6210000"/>
              <a:gd name="csX14" fmla="*/ 6104394 w 6730700"/>
              <a:gd name="csY14" fmla="*/ 725328 h 6210000"/>
              <a:gd name="csX15" fmla="*/ 6114913 w 6730700"/>
              <a:gd name="csY15" fmla="*/ 721223 h 6210000"/>
              <a:gd name="csX16" fmla="*/ 5965236 w 6730700"/>
              <a:gd name="csY16" fmla="*/ 721223 h 6210000"/>
              <a:gd name="csX17" fmla="*/ 5975805 w 6730700"/>
              <a:gd name="csY17" fmla="*/ 725328 h 6210000"/>
              <a:gd name="csX18" fmla="*/ 5981558 w 6730700"/>
              <a:gd name="csY18" fmla="*/ 747748 h 6210000"/>
              <a:gd name="csX19" fmla="*/ 5975805 w 6730700"/>
              <a:gd name="csY19" fmla="*/ 770049 h 6210000"/>
              <a:gd name="csX20" fmla="*/ 5965236 w 6730700"/>
              <a:gd name="csY20" fmla="*/ 774036 h 6210000"/>
              <a:gd name="csX21" fmla="*/ 5954431 w 6730700"/>
              <a:gd name="csY21" fmla="*/ 770049 h 6210000"/>
              <a:gd name="csX22" fmla="*/ 5948678 w 6730700"/>
              <a:gd name="csY22" fmla="*/ 747748 h 6210000"/>
              <a:gd name="csX23" fmla="*/ 5954431 w 6730700"/>
              <a:gd name="csY23" fmla="*/ 725328 h 6210000"/>
              <a:gd name="csX24" fmla="*/ 5965236 w 6730700"/>
              <a:gd name="csY24" fmla="*/ 721223 h 6210000"/>
              <a:gd name="csX25" fmla="*/ 5853216 w 6730700"/>
              <a:gd name="csY25" fmla="*/ 721223 h 6210000"/>
              <a:gd name="csX26" fmla="*/ 5863903 w 6730700"/>
              <a:gd name="csY26" fmla="*/ 725328 h 6210000"/>
              <a:gd name="csX27" fmla="*/ 5869655 w 6730700"/>
              <a:gd name="csY27" fmla="*/ 747748 h 6210000"/>
              <a:gd name="csX28" fmla="*/ 5863903 w 6730700"/>
              <a:gd name="csY28" fmla="*/ 770049 h 6210000"/>
              <a:gd name="csX29" fmla="*/ 5853216 w 6730700"/>
              <a:gd name="csY29" fmla="*/ 774036 h 6210000"/>
              <a:gd name="csX30" fmla="*/ 5842647 w 6730700"/>
              <a:gd name="csY30" fmla="*/ 770049 h 6210000"/>
              <a:gd name="csX31" fmla="*/ 5836894 w 6730700"/>
              <a:gd name="csY31" fmla="*/ 747748 h 6210000"/>
              <a:gd name="csX32" fmla="*/ 5842647 w 6730700"/>
              <a:gd name="csY32" fmla="*/ 725328 h 6210000"/>
              <a:gd name="csX33" fmla="*/ 5853216 w 6730700"/>
              <a:gd name="csY33" fmla="*/ 721223 h 6210000"/>
              <a:gd name="csX34" fmla="*/ 6256725 w 6730700"/>
              <a:gd name="csY34" fmla="*/ 715786 h 6210000"/>
              <a:gd name="csX35" fmla="*/ 6254633 w 6730700"/>
              <a:gd name="csY35" fmla="*/ 718006 h 6210000"/>
              <a:gd name="csX36" fmla="*/ 6254633 w 6730700"/>
              <a:gd name="csY36" fmla="*/ 777085 h 6210000"/>
              <a:gd name="csX37" fmla="*/ 6256498 w 6730700"/>
              <a:gd name="csY37" fmla="*/ 779306 h 6210000"/>
              <a:gd name="csX38" fmla="*/ 6263129 w 6730700"/>
              <a:gd name="csY38" fmla="*/ 779306 h 6210000"/>
              <a:gd name="csX39" fmla="*/ 6265448 w 6730700"/>
              <a:gd name="csY39" fmla="*/ 777085 h 6210000"/>
              <a:gd name="csX40" fmla="*/ 6265448 w 6730700"/>
              <a:gd name="csY40" fmla="*/ 718006 h 6210000"/>
              <a:gd name="csX41" fmla="*/ 6263119 w 6730700"/>
              <a:gd name="csY41" fmla="*/ 715786 h 6210000"/>
              <a:gd name="csX42" fmla="*/ 6256725 w 6730700"/>
              <a:gd name="csY42" fmla="*/ 715786 h 6210000"/>
              <a:gd name="csX43" fmla="*/ 6364502 w 6730700"/>
              <a:gd name="csY43" fmla="*/ 715480 h 6210000"/>
              <a:gd name="csX44" fmla="*/ 6360742 w 6730700"/>
              <a:gd name="csY44" fmla="*/ 717473 h 6210000"/>
              <a:gd name="csX45" fmla="*/ 6338994 w 6730700"/>
              <a:gd name="csY45" fmla="*/ 744768 h 6210000"/>
              <a:gd name="csX46" fmla="*/ 6338520 w 6730700"/>
              <a:gd name="csY46" fmla="*/ 745469 h 6210000"/>
              <a:gd name="csX47" fmla="*/ 6338638 w 6730700"/>
              <a:gd name="csY47" fmla="*/ 746169 h 6210000"/>
              <a:gd name="csX48" fmla="*/ 6360506 w 6730700"/>
              <a:gd name="csY48" fmla="*/ 777441 h 6210000"/>
              <a:gd name="csX49" fmla="*/ 6364147 w 6730700"/>
              <a:gd name="csY49" fmla="*/ 779315 h 6210000"/>
              <a:gd name="csX50" fmla="*/ 6372495 w 6730700"/>
              <a:gd name="csY50" fmla="*/ 779315 h 6210000"/>
              <a:gd name="csX51" fmla="*/ 6374252 w 6730700"/>
              <a:gd name="csY51" fmla="*/ 777786 h 6210000"/>
              <a:gd name="csX52" fmla="*/ 6373433 w 6730700"/>
              <a:gd name="csY52" fmla="*/ 776266 h 6210000"/>
              <a:gd name="csX53" fmla="*/ 6350154 w 6730700"/>
              <a:gd name="csY53" fmla="*/ 745459 h 6210000"/>
              <a:gd name="csX54" fmla="*/ 6349917 w 6730700"/>
              <a:gd name="csY54" fmla="*/ 745222 h 6210000"/>
              <a:gd name="csX55" fmla="*/ 6371903 w 6730700"/>
              <a:gd name="csY55" fmla="*/ 719338 h 6210000"/>
              <a:gd name="csX56" fmla="*/ 6372495 w 6730700"/>
              <a:gd name="csY56" fmla="*/ 716881 h 6210000"/>
              <a:gd name="csX57" fmla="*/ 6370265 w 6730700"/>
              <a:gd name="csY57" fmla="*/ 715480 h 6210000"/>
              <a:gd name="csX58" fmla="*/ 6364502 w 6730700"/>
              <a:gd name="csY58" fmla="*/ 715480 h 6210000"/>
              <a:gd name="csX59" fmla="*/ 5884467 w 6730700"/>
              <a:gd name="csY59" fmla="*/ 715480 h 6210000"/>
              <a:gd name="csX60" fmla="*/ 5882819 w 6730700"/>
              <a:gd name="csY60" fmla="*/ 717118 h 6210000"/>
              <a:gd name="csX61" fmla="*/ 5883293 w 6730700"/>
              <a:gd name="csY61" fmla="*/ 718874 h 6210000"/>
              <a:gd name="csX62" fmla="*/ 5905476 w 6730700"/>
              <a:gd name="csY62" fmla="*/ 777421 h 6210000"/>
              <a:gd name="csX63" fmla="*/ 5907469 w 6730700"/>
              <a:gd name="csY63" fmla="*/ 779296 h 6210000"/>
              <a:gd name="csX64" fmla="*/ 5912285 w 6730700"/>
              <a:gd name="csY64" fmla="*/ 779296 h 6210000"/>
              <a:gd name="csX65" fmla="*/ 5914515 w 6730700"/>
              <a:gd name="csY65" fmla="*/ 777421 h 6210000"/>
              <a:gd name="csX66" fmla="*/ 5936116 w 6730700"/>
              <a:gd name="csY66" fmla="*/ 718647 h 6210000"/>
              <a:gd name="csX67" fmla="*/ 5936353 w 6730700"/>
              <a:gd name="csY67" fmla="*/ 716773 h 6210000"/>
              <a:gd name="csX68" fmla="*/ 5934823 w 6730700"/>
              <a:gd name="csY68" fmla="*/ 715480 h 6210000"/>
              <a:gd name="csX69" fmla="*/ 5928715 w 6730700"/>
              <a:gd name="csY69" fmla="*/ 715480 h 6210000"/>
              <a:gd name="csX70" fmla="*/ 5927185 w 6730700"/>
              <a:gd name="csY70" fmla="*/ 717236 h 6210000"/>
              <a:gd name="csX71" fmla="*/ 5911219 w 6730700"/>
              <a:gd name="csY71" fmla="*/ 764168 h 6210000"/>
              <a:gd name="csX72" fmla="*/ 5894789 w 6730700"/>
              <a:gd name="csY72" fmla="*/ 717473 h 6210000"/>
              <a:gd name="csX73" fmla="*/ 5891977 w 6730700"/>
              <a:gd name="csY73" fmla="*/ 715480 h 6210000"/>
              <a:gd name="csX74" fmla="*/ 5884467 w 6730700"/>
              <a:gd name="csY74" fmla="*/ 715480 h 6210000"/>
              <a:gd name="csX75" fmla="*/ 6298387 w 6730700"/>
              <a:gd name="csY75" fmla="*/ 714414 h 6210000"/>
              <a:gd name="csX76" fmla="*/ 6277368 w 6730700"/>
              <a:gd name="csY76" fmla="*/ 731900 h 6210000"/>
              <a:gd name="csX77" fmla="*/ 6293927 w 6730700"/>
              <a:gd name="csY77" fmla="*/ 750916 h 6210000"/>
              <a:gd name="csX78" fmla="*/ 6307545 w 6730700"/>
              <a:gd name="csY78" fmla="*/ 763240 h 6210000"/>
              <a:gd name="csX79" fmla="*/ 6294983 w 6730700"/>
              <a:gd name="csY79" fmla="*/ 774036 h 6210000"/>
              <a:gd name="csX80" fmla="*/ 6279599 w 6730700"/>
              <a:gd name="csY80" fmla="*/ 767583 h 6210000"/>
              <a:gd name="csX81" fmla="*/ 6275020 w 6730700"/>
              <a:gd name="csY81" fmla="*/ 771687 h 6210000"/>
              <a:gd name="csX82" fmla="*/ 6294746 w 6730700"/>
              <a:gd name="csY82" fmla="*/ 781082 h 6210000"/>
              <a:gd name="csX83" fmla="*/ 6317294 w 6730700"/>
              <a:gd name="csY83" fmla="*/ 762066 h 6210000"/>
              <a:gd name="csX84" fmla="*/ 6287118 w 6730700"/>
              <a:gd name="csY84" fmla="*/ 730844 h 6210000"/>
              <a:gd name="csX85" fmla="*/ 6297686 w 6730700"/>
              <a:gd name="csY85" fmla="*/ 721450 h 6210000"/>
              <a:gd name="csX86" fmla="*/ 6310367 w 6730700"/>
              <a:gd name="csY86" fmla="*/ 726147 h 6210000"/>
              <a:gd name="csX87" fmla="*/ 6314945 w 6730700"/>
              <a:gd name="csY87" fmla="*/ 721805 h 6210000"/>
              <a:gd name="csX88" fmla="*/ 6298387 w 6730700"/>
              <a:gd name="csY88" fmla="*/ 714414 h 6210000"/>
              <a:gd name="csX89" fmla="*/ 6170380 w 6730700"/>
              <a:gd name="csY89" fmla="*/ 714059 h 6210000"/>
              <a:gd name="csX90" fmla="*/ 6156427 w 6730700"/>
              <a:gd name="csY90" fmla="*/ 715934 h 6210000"/>
              <a:gd name="csX91" fmla="*/ 6150684 w 6730700"/>
              <a:gd name="csY91" fmla="*/ 720957 h 6210000"/>
              <a:gd name="csX92" fmla="*/ 6150684 w 6730700"/>
              <a:gd name="csY92" fmla="*/ 776967 h 6210000"/>
              <a:gd name="csX93" fmla="*/ 6153151 w 6730700"/>
              <a:gd name="csY93" fmla="*/ 778950 h 6210000"/>
              <a:gd name="csX94" fmla="*/ 6159368 w 6730700"/>
              <a:gd name="csY94" fmla="*/ 778950 h 6210000"/>
              <a:gd name="csX95" fmla="*/ 6161598 w 6730700"/>
              <a:gd name="csY95" fmla="*/ 776967 h 6210000"/>
              <a:gd name="csX96" fmla="*/ 6161598 w 6730700"/>
              <a:gd name="csY96" fmla="*/ 725634 h 6210000"/>
              <a:gd name="csX97" fmla="*/ 6167815 w 6730700"/>
              <a:gd name="csY97" fmla="*/ 720138 h 6210000"/>
              <a:gd name="csX98" fmla="*/ 6181067 w 6730700"/>
              <a:gd name="csY98" fmla="*/ 725871 h 6210000"/>
              <a:gd name="csX99" fmla="*/ 6186445 w 6730700"/>
              <a:gd name="csY99" fmla="*/ 720493 h 6210000"/>
              <a:gd name="csX100" fmla="*/ 6170380 w 6730700"/>
              <a:gd name="csY100" fmla="*/ 714059 h 6210000"/>
              <a:gd name="csX101" fmla="*/ 6114923 w 6730700"/>
              <a:gd name="csY101" fmla="*/ 714059 h 6210000"/>
              <a:gd name="csX102" fmla="*/ 6099025 w 6730700"/>
              <a:gd name="csY102" fmla="*/ 718638 h 6210000"/>
              <a:gd name="csX103" fmla="*/ 6087332 w 6730700"/>
              <a:gd name="csY103" fmla="*/ 747748 h 6210000"/>
              <a:gd name="csX104" fmla="*/ 6099025 w 6730700"/>
              <a:gd name="csY104" fmla="*/ 776740 h 6210000"/>
              <a:gd name="csX105" fmla="*/ 6114923 w 6730700"/>
              <a:gd name="csY105" fmla="*/ 781200 h 6210000"/>
              <a:gd name="csX106" fmla="*/ 6130820 w 6730700"/>
              <a:gd name="csY106" fmla="*/ 776740 h 6210000"/>
              <a:gd name="csX107" fmla="*/ 6142632 w 6730700"/>
              <a:gd name="csY107" fmla="*/ 747748 h 6210000"/>
              <a:gd name="csX108" fmla="*/ 6130820 w 6730700"/>
              <a:gd name="csY108" fmla="*/ 718638 h 6210000"/>
              <a:gd name="csX109" fmla="*/ 6114923 w 6730700"/>
              <a:gd name="csY109" fmla="*/ 714059 h 6210000"/>
              <a:gd name="csX110" fmla="*/ 6053110 w 6730700"/>
              <a:gd name="csY110" fmla="*/ 714059 h 6210000"/>
              <a:gd name="csX111" fmla="*/ 6034085 w 6730700"/>
              <a:gd name="csY111" fmla="*/ 717108 h 6210000"/>
              <a:gd name="csX112" fmla="*/ 6028598 w 6730700"/>
              <a:gd name="csY112" fmla="*/ 722151 h 6210000"/>
              <a:gd name="csX113" fmla="*/ 6028598 w 6730700"/>
              <a:gd name="csY113" fmla="*/ 777065 h 6210000"/>
              <a:gd name="csX114" fmla="*/ 6030937 w 6730700"/>
              <a:gd name="csY114" fmla="*/ 779296 h 6210000"/>
              <a:gd name="csX115" fmla="*/ 6037006 w 6730700"/>
              <a:gd name="csY115" fmla="*/ 779296 h 6210000"/>
              <a:gd name="csX116" fmla="*/ 6039571 w 6730700"/>
              <a:gd name="csY116" fmla="*/ 776829 h 6210000"/>
              <a:gd name="csX117" fmla="*/ 6039571 w 6730700"/>
              <a:gd name="csY117" fmla="*/ 726256 h 6210000"/>
              <a:gd name="csX118" fmla="*/ 6052765 w 6730700"/>
              <a:gd name="csY118" fmla="*/ 720739 h 6210000"/>
              <a:gd name="csX119" fmla="*/ 6067004 w 6730700"/>
              <a:gd name="csY119" fmla="*/ 735758 h 6210000"/>
              <a:gd name="csX120" fmla="*/ 6067004 w 6730700"/>
              <a:gd name="csY120" fmla="*/ 776829 h 6210000"/>
              <a:gd name="csX121" fmla="*/ 6069807 w 6730700"/>
              <a:gd name="csY121" fmla="*/ 779296 h 6210000"/>
              <a:gd name="csX122" fmla="*/ 6076576 w 6730700"/>
              <a:gd name="csY122" fmla="*/ 779296 h 6210000"/>
              <a:gd name="csX123" fmla="*/ 6077740 w 6730700"/>
              <a:gd name="csY123" fmla="*/ 776839 h 6210000"/>
              <a:gd name="csX124" fmla="*/ 6077740 w 6730700"/>
              <a:gd name="csY124" fmla="*/ 734357 h 6210000"/>
              <a:gd name="csX125" fmla="*/ 6053110 w 6730700"/>
              <a:gd name="csY125" fmla="*/ 714059 h 6210000"/>
              <a:gd name="csX126" fmla="*/ 5965009 w 6730700"/>
              <a:gd name="csY126" fmla="*/ 714059 h 6210000"/>
              <a:gd name="csX127" fmla="*/ 5949043 w 6730700"/>
              <a:gd name="csY127" fmla="*/ 718638 h 6210000"/>
              <a:gd name="csX128" fmla="*/ 5937300 w 6730700"/>
              <a:gd name="csY128" fmla="*/ 747748 h 6210000"/>
              <a:gd name="csX129" fmla="*/ 5949043 w 6730700"/>
              <a:gd name="csY129" fmla="*/ 776740 h 6210000"/>
              <a:gd name="csX130" fmla="*/ 5965009 w 6730700"/>
              <a:gd name="csY130" fmla="*/ 781200 h 6210000"/>
              <a:gd name="csX131" fmla="*/ 5980976 w 6730700"/>
              <a:gd name="csY131" fmla="*/ 776740 h 6210000"/>
              <a:gd name="csX132" fmla="*/ 5992837 w 6730700"/>
              <a:gd name="csY132" fmla="*/ 747748 h 6210000"/>
              <a:gd name="csX133" fmla="*/ 5980976 w 6730700"/>
              <a:gd name="csY133" fmla="*/ 718638 h 6210000"/>
              <a:gd name="csX134" fmla="*/ 5965009 w 6730700"/>
              <a:gd name="csY134" fmla="*/ 714059 h 6210000"/>
              <a:gd name="csX135" fmla="*/ 5853225 w 6730700"/>
              <a:gd name="csY135" fmla="*/ 714059 h 6210000"/>
              <a:gd name="csX136" fmla="*/ 5837259 w 6730700"/>
              <a:gd name="csY136" fmla="*/ 718638 h 6210000"/>
              <a:gd name="csX137" fmla="*/ 5825398 w 6730700"/>
              <a:gd name="csY137" fmla="*/ 747748 h 6210000"/>
              <a:gd name="csX138" fmla="*/ 5837259 w 6730700"/>
              <a:gd name="csY138" fmla="*/ 776740 h 6210000"/>
              <a:gd name="csX139" fmla="*/ 5853225 w 6730700"/>
              <a:gd name="csY139" fmla="*/ 781200 h 6210000"/>
              <a:gd name="csX140" fmla="*/ 5869192 w 6730700"/>
              <a:gd name="csY140" fmla="*/ 776740 h 6210000"/>
              <a:gd name="csX141" fmla="*/ 5880935 w 6730700"/>
              <a:gd name="csY141" fmla="*/ 747748 h 6210000"/>
              <a:gd name="csX142" fmla="*/ 5869192 w 6730700"/>
              <a:gd name="csY142" fmla="*/ 718638 h 6210000"/>
              <a:gd name="csX143" fmla="*/ 5853225 w 6730700"/>
              <a:gd name="csY143" fmla="*/ 714059 h 6210000"/>
              <a:gd name="csX144" fmla="*/ 5791294 w 6730700"/>
              <a:gd name="csY144" fmla="*/ 714059 h 6210000"/>
              <a:gd name="csX145" fmla="*/ 5772180 w 6730700"/>
              <a:gd name="csY145" fmla="*/ 717108 h 6210000"/>
              <a:gd name="csX146" fmla="*/ 5766664 w 6730700"/>
              <a:gd name="csY146" fmla="*/ 722151 h 6210000"/>
              <a:gd name="csX147" fmla="*/ 5766664 w 6730700"/>
              <a:gd name="csY147" fmla="*/ 777065 h 6210000"/>
              <a:gd name="csX148" fmla="*/ 5768894 w 6730700"/>
              <a:gd name="csY148" fmla="*/ 779296 h 6210000"/>
              <a:gd name="csX149" fmla="*/ 5774993 w 6730700"/>
              <a:gd name="csY149" fmla="*/ 779296 h 6210000"/>
              <a:gd name="csX150" fmla="*/ 5777568 w 6730700"/>
              <a:gd name="csY150" fmla="*/ 776829 h 6210000"/>
              <a:gd name="csX151" fmla="*/ 5777568 w 6730700"/>
              <a:gd name="csY151" fmla="*/ 726256 h 6210000"/>
              <a:gd name="csX152" fmla="*/ 5790821 w 6730700"/>
              <a:gd name="csY152" fmla="*/ 720739 h 6210000"/>
              <a:gd name="csX153" fmla="*/ 5805129 w 6730700"/>
              <a:gd name="csY153" fmla="*/ 735758 h 6210000"/>
              <a:gd name="csX154" fmla="*/ 5805129 w 6730700"/>
              <a:gd name="csY154" fmla="*/ 776829 h 6210000"/>
              <a:gd name="csX155" fmla="*/ 5807942 w 6730700"/>
              <a:gd name="csY155" fmla="*/ 779296 h 6210000"/>
              <a:gd name="csX156" fmla="*/ 5814740 w 6730700"/>
              <a:gd name="csY156" fmla="*/ 779296 h 6210000"/>
              <a:gd name="csX157" fmla="*/ 5816043 w 6730700"/>
              <a:gd name="csY157" fmla="*/ 776839 h 6210000"/>
              <a:gd name="csX158" fmla="*/ 5816043 w 6730700"/>
              <a:gd name="csY158" fmla="*/ 734357 h 6210000"/>
              <a:gd name="csX159" fmla="*/ 5791294 w 6730700"/>
              <a:gd name="csY159" fmla="*/ 714059 h 6210000"/>
              <a:gd name="csX160" fmla="*/ 6231670 w 6730700"/>
              <a:gd name="csY160" fmla="*/ 692734 h 6210000"/>
              <a:gd name="csX161" fmla="*/ 6229450 w 6730700"/>
              <a:gd name="csY161" fmla="*/ 695547 h 6210000"/>
              <a:gd name="csX162" fmla="*/ 6229450 w 6730700"/>
              <a:gd name="csY162" fmla="*/ 717838 h 6210000"/>
              <a:gd name="csX163" fmla="*/ 6216128 w 6730700"/>
              <a:gd name="csY163" fmla="*/ 714434 h 6210000"/>
              <a:gd name="csX164" fmla="*/ 6187383 w 6730700"/>
              <a:gd name="csY164" fmla="*/ 747748 h 6210000"/>
              <a:gd name="csX165" fmla="*/ 6218348 w 6730700"/>
              <a:gd name="csY165" fmla="*/ 781180 h 6210000"/>
              <a:gd name="csX166" fmla="*/ 6240087 w 6730700"/>
              <a:gd name="csY166" fmla="*/ 772516 h 6210000"/>
              <a:gd name="csX167" fmla="*/ 6240087 w 6730700"/>
              <a:gd name="csY167" fmla="*/ 695201 h 6210000"/>
              <a:gd name="csX168" fmla="*/ 6237749 w 6730700"/>
              <a:gd name="csY168" fmla="*/ 692734 h 6210000"/>
              <a:gd name="csX169" fmla="*/ 6231670 w 6730700"/>
              <a:gd name="csY169" fmla="*/ 692734 h 6210000"/>
              <a:gd name="csX170" fmla="*/ 6328178 w 6730700"/>
              <a:gd name="csY170" fmla="*/ 692507 h 6210000"/>
              <a:gd name="csX171" fmla="*/ 6326175 w 6730700"/>
              <a:gd name="csY171" fmla="*/ 694501 h 6210000"/>
              <a:gd name="csX172" fmla="*/ 6326175 w 6730700"/>
              <a:gd name="csY172" fmla="*/ 777312 h 6210000"/>
              <a:gd name="csX173" fmla="*/ 6328178 w 6730700"/>
              <a:gd name="csY173" fmla="*/ 779187 h 6210000"/>
              <a:gd name="csX174" fmla="*/ 6334642 w 6730700"/>
              <a:gd name="csY174" fmla="*/ 779187 h 6210000"/>
              <a:gd name="csX175" fmla="*/ 6336872 w 6730700"/>
              <a:gd name="csY175" fmla="*/ 777431 h 6210000"/>
              <a:gd name="csX176" fmla="*/ 6336872 w 6730700"/>
              <a:gd name="csY176" fmla="*/ 694264 h 6210000"/>
              <a:gd name="csX177" fmla="*/ 6334642 w 6730700"/>
              <a:gd name="csY177" fmla="*/ 692507 h 6210000"/>
              <a:gd name="csX178" fmla="*/ 6328178 w 6730700"/>
              <a:gd name="csY178" fmla="*/ 692507 h 6210000"/>
              <a:gd name="csX179" fmla="*/ 6260336 w 6730700"/>
              <a:gd name="csY179" fmla="*/ 691797 h 6210000"/>
              <a:gd name="csX180" fmla="*/ 6253587 w 6730700"/>
              <a:gd name="csY180" fmla="*/ 698349 h 6210000"/>
              <a:gd name="csX181" fmla="*/ 6260100 w 6730700"/>
              <a:gd name="csY181" fmla="*/ 704783 h 6210000"/>
              <a:gd name="csX182" fmla="*/ 6266731 w 6730700"/>
              <a:gd name="csY182" fmla="*/ 697885 h 6210000"/>
              <a:gd name="csX183" fmla="*/ 6260336 w 6730700"/>
              <a:gd name="csY183" fmla="*/ 691797 h 6210000"/>
              <a:gd name="csX184" fmla="*/ 6390573 w 6730700"/>
              <a:gd name="csY184" fmla="*/ 682491 h 6210000"/>
              <a:gd name="csX185" fmla="*/ 6390813 w 6730700"/>
              <a:gd name="csY185" fmla="*/ 682668 h 6210000"/>
              <a:gd name="csX186" fmla="*/ 6390573 w 6730700"/>
              <a:gd name="csY186" fmla="*/ 682728 h 6210000"/>
              <a:gd name="csX187" fmla="*/ 6390573 w 6730700"/>
              <a:gd name="csY187" fmla="*/ 682491 h 6210000"/>
              <a:gd name="csX188" fmla="*/ 6383429 w 6730700"/>
              <a:gd name="csY188" fmla="*/ 673926 h 6210000"/>
              <a:gd name="csX189" fmla="*/ 6387287 w 6730700"/>
              <a:gd name="csY189" fmla="*/ 673926 h 6210000"/>
              <a:gd name="csX190" fmla="*/ 6392557 w 6730700"/>
              <a:gd name="csY190" fmla="*/ 677094 h 6210000"/>
              <a:gd name="csX191" fmla="*/ 6387642 w 6730700"/>
              <a:gd name="csY191" fmla="*/ 680261 h 6210000"/>
              <a:gd name="csX192" fmla="*/ 6383429 w 6730700"/>
              <a:gd name="csY192" fmla="*/ 680261 h 6210000"/>
              <a:gd name="csX193" fmla="*/ 6380153 w 6730700"/>
              <a:gd name="csY193" fmla="*/ 670985 h 6210000"/>
              <a:gd name="csX194" fmla="*/ 6380153 w 6730700"/>
              <a:gd name="csY194" fmla="*/ 692231 h 6210000"/>
              <a:gd name="csX195" fmla="*/ 6383666 w 6730700"/>
              <a:gd name="csY195" fmla="*/ 692231 h 6210000"/>
              <a:gd name="csX196" fmla="*/ 6383666 w 6730700"/>
              <a:gd name="csY196" fmla="*/ 683192 h 6210000"/>
              <a:gd name="csX197" fmla="*/ 6385659 w 6730700"/>
              <a:gd name="csY197" fmla="*/ 683192 h 6210000"/>
              <a:gd name="csX198" fmla="*/ 6391974 w 6730700"/>
              <a:gd name="csY198" fmla="*/ 688827 h 6210000"/>
              <a:gd name="csX199" fmla="*/ 6393849 w 6730700"/>
              <a:gd name="csY199" fmla="*/ 692113 h 6210000"/>
              <a:gd name="csX200" fmla="*/ 6397944 w 6730700"/>
              <a:gd name="csY200" fmla="*/ 692113 h 6210000"/>
              <a:gd name="csX201" fmla="*/ 6395369 w 6730700"/>
              <a:gd name="csY201" fmla="*/ 687889 h 6210000"/>
              <a:gd name="csX202" fmla="*/ 6392442 w 6730700"/>
              <a:gd name="csY202" fmla="*/ 683869 h 6210000"/>
              <a:gd name="csX203" fmla="*/ 6390813 w 6730700"/>
              <a:gd name="csY203" fmla="*/ 682668 h 6210000"/>
              <a:gd name="csX204" fmla="*/ 6393334 w 6730700"/>
              <a:gd name="csY204" fmla="*/ 682039 h 6210000"/>
              <a:gd name="csX205" fmla="*/ 6396543 w 6730700"/>
              <a:gd name="csY205" fmla="*/ 676738 h 6210000"/>
              <a:gd name="csX206" fmla="*/ 6394550 w 6730700"/>
              <a:gd name="csY206" fmla="*/ 672633 h 6210000"/>
              <a:gd name="csX207" fmla="*/ 6387642 w 6730700"/>
              <a:gd name="csY207" fmla="*/ 670985 h 6210000"/>
              <a:gd name="csX208" fmla="*/ 6380153 w 6730700"/>
              <a:gd name="csY208" fmla="*/ 670985 h 6210000"/>
              <a:gd name="csX209" fmla="*/ 6388462 w 6730700"/>
              <a:gd name="csY209" fmla="*/ 665124 h 6210000"/>
              <a:gd name="csX210" fmla="*/ 6404842 w 6730700"/>
              <a:gd name="csY210" fmla="*/ 681435 h 6210000"/>
              <a:gd name="csX211" fmla="*/ 6388462 w 6730700"/>
              <a:gd name="csY211" fmla="*/ 697984 h 6210000"/>
              <a:gd name="csX212" fmla="*/ 6372199 w 6730700"/>
              <a:gd name="csY212" fmla="*/ 681435 h 6210000"/>
              <a:gd name="csX213" fmla="*/ 6388462 w 6730700"/>
              <a:gd name="csY213" fmla="*/ 665124 h 6210000"/>
              <a:gd name="csX214" fmla="*/ 6388462 w 6730700"/>
              <a:gd name="csY214" fmla="*/ 661719 h 6210000"/>
              <a:gd name="csX215" fmla="*/ 6368923 w 6730700"/>
              <a:gd name="csY215" fmla="*/ 681435 h 6210000"/>
              <a:gd name="csX216" fmla="*/ 6388462 w 6730700"/>
              <a:gd name="csY216" fmla="*/ 701152 h 6210000"/>
              <a:gd name="csX217" fmla="*/ 6408000 w 6730700"/>
              <a:gd name="csY217" fmla="*/ 681435 h 6210000"/>
              <a:gd name="csX218" fmla="*/ 6388462 w 6730700"/>
              <a:gd name="csY218" fmla="*/ 661719 h 6210000"/>
              <a:gd name="csX219" fmla="*/ 6193357 w 6730700"/>
              <a:gd name="csY219" fmla="*/ 533824 h 6210000"/>
              <a:gd name="csX220" fmla="*/ 6195011 w 6730700"/>
              <a:gd name="csY220" fmla="*/ 534572 h 6210000"/>
              <a:gd name="csX221" fmla="*/ 6198178 w 6730700"/>
              <a:gd name="csY221" fmla="*/ 609943 h 6210000"/>
              <a:gd name="csX222" fmla="*/ 6194547 w 6730700"/>
              <a:gd name="csY222" fmla="*/ 609242 h 6210000"/>
              <a:gd name="csX223" fmla="*/ 6188685 w 6730700"/>
              <a:gd name="csY223" fmla="*/ 578296 h 6210000"/>
              <a:gd name="csX224" fmla="*/ 6192317 w 6730700"/>
              <a:gd name="csY224" fmla="*/ 534927 h 6210000"/>
              <a:gd name="csX225" fmla="*/ 6193357 w 6730700"/>
              <a:gd name="csY225" fmla="*/ 533824 h 6210000"/>
              <a:gd name="csX226" fmla="*/ 6057324 w 6730700"/>
              <a:gd name="csY226" fmla="*/ 488972 h 6210000"/>
              <a:gd name="csX227" fmla="*/ 6111627 w 6730700"/>
              <a:gd name="csY227" fmla="*/ 490847 h 6210000"/>
              <a:gd name="csX228" fmla="*/ 6110097 w 6730700"/>
              <a:gd name="csY228" fmla="*/ 520618 h 6210000"/>
              <a:gd name="csX229" fmla="*/ 6065415 w 6730700"/>
              <a:gd name="csY229" fmla="*/ 524723 h 6210000"/>
              <a:gd name="csX230" fmla="*/ 6059435 w 6730700"/>
              <a:gd name="csY230" fmla="*/ 517924 h 6210000"/>
              <a:gd name="csX231" fmla="*/ 6057324 w 6730700"/>
              <a:gd name="csY231" fmla="*/ 488972 h 6210000"/>
              <a:gd name="csX232" fmla="*/ 6152085 w 6730700"/>
              <a:gd name="csY232" fmla="*/ 486041 h 6210000"/>
              <a:gd name="csX233" fmla="*/ 6156072 w 6730700"/>
              <a:gd name="csY233" fmla="*/ 505501 h 6210000"/>
              <a:gd name="csX234" fmla="*/ 6146688 w 6730700"/>
              <a:gd name="csY234" fmla="*/ 512300 h 6210000"/>
              <a:gd name="csX235" fmla="*/ 6139060 w 6730700"/>
              <a:gd name="csY235" fmla="*/ 487798 h 6210000"/>
              <a:gd name="csX236" fmla="*/ 6152085 w 6730700"/>
              <a:gd name="csY236" fmla="*/ 486041 h 6210000"/>
              <a:gd name="csX237" fmla="*/ 6012296 w 6730700"/>
              <a:gd name="csY237" fmla="*/ 479252 h 6210000"/>
              <a:gd name="csX238" fmla="*/ 6029654 w 6730700"/>
              <a:gd name="csY238" fmla="*/ 483939 h 6210000"/>
              <a:gd name="csX239" fmla="*/ 6013707 w 6730700"/>
              <a:gd name="csY239" fmla="*/ 517934 h 6210000"/>
              <a:gd name="csX240" fmla="*/ 6006080 w 6730700"/>
              <a:gd name="csY240" fmla="*/ 511954 h 6210000"/>
              <a:gd name="csX241" fmla="*/ 6012296 w 6730700"/>
              <a:gd name="csY241" fmla="*/ 479252 h 6210000"/>
              <a:gd name="csX242" fmla="*/ 5992209 w 6730700"/>
              <a:gd name="csY242" fmla="*/ 472822 h 6210000"/>
              <a:gd name="csX243" fmla="*/ 6003277 w 6730700"/>
              <a:gd name="csY243" fmla="*/ 476440 h 6210000"/>
              <a:gd name="csX244" fmla="*/ 5995649 w 6730700"/>
              <a:gd name="csY244" fmla="*/ 516641 h 6210000"/>
              <a:gd name="csX245" fmla="*/ 6014763 w 6730700"/>
              <a:gd name="csY245" fmla="*/ 526608 h 6210000"/>
              <a:gd name="csX246" fmla="*/ 6038101 w 6730700"/>
              <a:gd name="csY246" fmla="*/ 485814 h 6210000"/>
              <a:gd name="csX247" fmla="*/ 6049123 w 6730700"/>
              <a:gd name="csY247" fmla="*/ 487808 h 6210000"/>
              <a:gd name="csX248" fmla="*/ 6052528 w 6730700"/>
              <a:gd name="csY248" fmla="*/ 526016 h 6210000"/>
              <a:gd name="csX249" fmla="*/ 6064488 w 6730700"/>
              <a:gd name="csY249" fmla="*/ 533516 h 6210000"/>
              <a:gd name="csX250" fmla="*/ 6117025 w 6730700"/>
              <a:gd name="csY250" fmla="*/ 526953 h 6210000"/>
              <a:gd name="csX251" fmla="*/ 6119955 w 6730700"/>
              <a:gd name="csY251" fmla="*/ 490146 h 6210000"/>
              <a:gd name="csX252" fmla="*/ 6130040 w 6730700"/>
              <a:gd name="csY252" fmla="*/ 488972 h 6210000"/>
              <a:gd name="csX253" fmla="*/ 6138487 w 6730700"/>
              <a:gd name="csY253" fmla="*/ 513119 h 6210000"/>
              <a:gd name="csX254" fmla="*/ 6156200 w 6730700"/>
              <a:gd name="csY254" fmla="*/ 516168 h 6210000"/>
              <a:gd name="csX255" fmla="*/ 6159832 w 6730700"/>
              <a:gd name="csY255" fmla="*/ 485104 h 6210000"/>
              <a:gd name="csX256" fmla="*/ 6180821 w 6730700"/>
              <a:gd name="csY256" fmla="*/ 517579 h 6210000"/>
              <a:gd name="csX257" fmla="*/ 6169098 w 6730700"/>
              <a:gd name="csY257" fmla="*/ 565991 h 6210000"/>
              <a:gd name="csX258" fmla="*/ 6100022 w 6730700"/>
              <a:gd name="csY258" fmla="*/ 550636 h 6210000"/>
              <a:gd name="csX259" fmla="*/ 6028835 w 6730700"/>
              <a:gd name="csY259" fmla="*/ 589082 h 6210000"/>
              <a:gd name="csX260" fmla="*/ 6025786 w 6730700"/>
              <a:gd name="csY260" fmla="*/ 589901 h 6210000"/>
              <a:gd name="csX261" fmla="*/ 5991189 w 6730700"/>
              <a:gd name="csY261" fmla="*/ 565054 h 6210000"/>
              <a:gd name="csX262" fmla="*/ 5964101 w 6730700"/>
              <a:gd name="csY262" fmla="*/ 532351 h 6210000"/>
              <a:gd name="csX263" fmla="*/ 5987913 w 6730700"/>
              <a:gd name="csY263" fmla="*/ 475621 h 6210000"/>
              <a:gd name="csX264" fmla="*/ 5992209 w 6730700"/>
              <a:gd name="csY264" fmla="*/ 472822 h 6210000"/>
              <a:gd name="csX265" fmla="*/ 5936176 w 6730700"/>
              <a:gd name="csY265" fmla="*/ 459522 h 6210000"/>
              <a:gd name="csX266" fmla="*/ 5925281 w 6730700"/>
              <a:gd name="csY266" fmla="*/ 467272 h 6210000"/>
              <a:gd name="csX267" fmla="*/ 5939441 w 6730700"/>
              <a:gd name="csY267" fmla="*/ 460385 h 6210000"/>
              <a:gd name="csX268" fmla="*/ 5936176 w 6730700"/>
              <a:gd name="csY268" fmla="*/ 459522 h 6210000"/>
              <a:gd name="csX269" fmla="*/ 5932776 w 6730700"/>
              <a:gd name="csY269" fmla="*/ 444793 h 6210000"/>
              <a:gd name="csX270" fmla="*/ 5955654 w 6730700"/>
              <a:gd name="csY270" fmla="*/ 454632 h 6210000"/>
              <a:gd name="csX271" fmla="*/ 5975588 w 6730700"/>
              <a:gd name="csY271" fmla="*/ 475729 h 6210000"/>
              <a:gd name="csX272" fmla="*/ 5952951 w 6730700"/>
              <a:gd name="csY272" fmla="*/ 525197 h 6210000"/>
              <a:gd name="csX273" fmla="*/ 5935711 w 6730700"/>
              <a:gd name="csY273" fmla="*/ 497883 h 6210000"/>
              <a:gd name="csX274" fmla="*/ 5911081 w 6730700"/>
              <a:gd name="csY274" fmla="*/ 490847 h 6210000"/>
              <a:gd name="csX275" fmla="*/ 5908732 w 6730700"/>
              <a:gd name="csY275" fmla="*/ 479716 h 6210000"/>
              <a:gd name="csX276" fmla="*/ 5915531 w 6730700"/>
              <a:gd name="csY276" fmla="*/ 470568 h 6210000"/>
              <a:gd name="csX277" fmla="*/ 5917998 w 6730700"/>
              <a:gd name="csY277" fmla="*/ 460256 h 6210000"/>
              <a:gd name="csX278" fmla="*/ 5928675 w 6730700"/>
              <a:gd name="csY278" fmla="*/ 447014 h 6210000"/>
              <a:gd name="csX279" fmla="*/ 5932776 w 6730700"/>
              <a:gd name="csY279" fmla="*/ 444793 h 6210000"/>
              <a:gd name="csX280" fmla="*/ 5904946 w 6730700"/>
              <a:gd name="csY280" fmla="*/ 389214 h 6210000"/>
              <a:gd name="csX281" fmla="*/ 5903216 w 6730700"/>
              <a:gd name="csY281" fmla="*/ 395691 h 6210000"/>
              <a:gd name="csX282" fmla="*/ 5915887 w 6730700"/>
              <a:gd name="csY282" fmla="*/ 433672 h 6210000"/>
              <a:gd name="csX283" fmla="*/ 5918817 w 6730700"/>
              <a:gd name="csY283" fmla="*/ 443047 h 6210000"/>
              <a:gd name="csX284" fmla="*/ 5908969 w 6730700"/>
              <a:gd name="csY284" fmla="*/ 457108 h 6210000"/>
              <a:gd name="csX285" fmla="*/ 5907913 w 6730700"/>
              <a:gd name="csY285" fmla="*/ 464144 h 6210000"/>
              <a:gd name="csX286" fmla="*/ 5897128 w 6730700"/>
              <a:gd name="csY286" fmla="*/ 478680 h 6210000"/>
              <a:gd name="csX287" fmla="*/ 5898766 w 6730700"/>
              <a:gd name="csY287" fmla="*/ 490521 h 6210000"/>
              <a:gd name="csX288" fmla="*/ 5908387 w 6730700"/>
              <a:gd name="csY288" fmla="*/ 500488 h 6210000"/>
              <a:gd name="csX289" fmla="*/ 5921284 w 6730700"/>
              <a:gd name="csY289" fmla="*/ 501899 h 6210000"/>
              <a:gd name="csX290" fmla="*/ 5936530 w 6730700"/>
              <a:gd name="csY290" fmla="*/ 513859 h 6210000"/>
              <a:gd name="csX291" fmla="*/ 5963736 w 6730700"/>
              <a:gd name="csY291" fmla="*/ 560741 h 6210000"/>
              <a:gd name="csX292" fmla="*/ 5969598 w 6730700"/>
              <a:gd name="csY292" fmla="*/ 584533 h 6210000"/>
              <a:gd name="csX293" fmla="*/ 5938405 w 6730700"/>
              <a:gd name="csY293" fmla="*/ 678307 h 6210000"/>
              <a:gd name="csX294" fmla="*/ 5940043 w 6730700"/>
              <a:gd name="csY294" fmla="*/ 687800 h 6210000"/>
              <a:gd name="csX295" fmla="*/ 5963973 w 6730700"/>
              <a:gd name="csY295" fmla="*/ 687800 h 6210000"/>
              <a:gd name="csX296" fmla="*/ 5969134 w 6730700"/>
              <a:gd name="csY296" fmla="*/ 681001 h 6210000"/>
              <a:gd name="csX297" fmla="*/ 6001037 w 6730700"/>
              <a:gd name="csY297" fmla="*/ 586289 h 6210000"/>
              <a:gd name="csX298" fmla="*/ 6033404 w 6730700"/>
              <a:gd name="csY298" fmla="*/ 679126 h 6210000"/>
              <a:gd name="csX299" fmla="*/ 6036808 w 6730700"/>
              <a:gd name="csY299" fmla="*/ 688037 h 6210000"/>
              <a:gd name="csX300" fmla="*/ 6057334 w 6730700"/>
              <a:gd name="csY300" fmla="*/ 688037 h 6210000"/>
              <a:gd name="csX301" fmla="*/ 6064014 w 6730700"/>
              <a:gd name="csY301" fmla="*/ 682057 h 6210000"/>
              <a:gd name="csX302" fmla="*/ 6042088 w 6730700"/>
              <a:gd name="csY302" fmla="*/ 596256 h 6210000"/>
              <a:gd name="csX303" fmla="*/ 6098147 w 6730700"/>
              <a:gd name="csY303" fmla="*/ 574339 h 6210000"/>
              <a:gd name="csX304" fmla="*/ 6129340 w 6730700"/>
              <a:gd name="csY304" fmla="*/ 598841 h 6210000"/>
              <a:gd name="csX305" fmla="*/ 6077148 w 6730700"/>
              <a:gd name="csY305" fmla="*/ 679136 h 6210000"/>
              <a:gd name="csX306" fmla="*/ 6079260 w 6730700"/>
              <a:gd name="csY306" fmla="*/ 687810 h 6210000"/>
              <a:gd name="csX307" fmla="*/ 6100960 w 6730700"/>
              <a:gd name="csY307" fmla="*/ 687810 h 6210000"/>
              <a:gd name="csX308" fmla="*/ 6108933 w 6730700"/>
              <a:gd name="csY308" fmla="*/ 682768 h 6210000"/>
              <a:gd name="csX309" fmla="*/ 6156082 w 6730700"/>
              <a:gd name="csY309" fmla="*/ 606933 h 6210000"/>
              <a:gd name="csX310" fmla="*/ 6165111 w 6730700"/>
              <a:gd name="csY310" fmla="*/ 579391 h 6210000"/>
              <a:gd name="csX311" fmla="*/ 6156546 w 6730700"/>
              <a:gd name="csY311" fmla="*/ 679255 h 6210000"/>
              <a:gd name="csX312" fmla="*/ 6158657 w 6730700"/>
              <a:gd name="csY312" fmla="*/ 687692 h 6210000"/>
              <a:gd name="csX313" fmla="*/ 6178245 w 6730700"/>
              <a:gd name="csY313" fmla="*/ 687692 h 6210000"/>
              <a:gd name="csX314" fmla="*/ 6184344 w 6730700"/>
              <a:gd name="csY314" fmla="*/ 680192 h 6210000"/>
              <a:gd name="csX315" fmla="*/ 6189031 w 6730700"/>
              <a:gd name="csY315" fmla="*/ 663664 h 6210000"/>
              <a:gd name="csX316" fmla="*/ 6206744 w 6730700"/>
              <a:gd name="csY316" fmla="*/ 659095 h 6210000"/>
              <a:gd name="csX317" fmla="*/ 6211322 w 6730700"/>
              <a:gd name="csY317" fmla="*/ 652296 h 6210000"/>
              <a:gd name="csX318" fmla="*/ 6207326 w 6730700"/>
              <a:gd name="csY318" fmla="*/ 506211 h 6210000"/>
              <a:gd name="csX319" fmla="*/ 6160414 w 6730700"/>
              <a:gd name="csY319" fmla="*/ 475739 h 6210000"/>
              <a:gd name="csX320" fmla="*/ 6090164 w 6730700"/>
              <a:gd name="csY320" fmla="*/ 481127 h 6210000"/>
              <a:gd name="csX321" fmla="*/ 5976288 w 6730700"/>
              <a:gd name="csY321" fmla="*/ 454987 h 6210000"/>
              <a:gd name="csX322" fmla="*/ 5975933 w 6730700"/>
              <a:gd name="csY322" fmla="*/ 449826 h 6210000"/>
              <a:gd name="csX323" fmla="*/ 6005487 w 6730700"/>
              <a:gd name="csY323" fmla="*/ 426153 h 6210000"/>
              <a:gd name="csX324" fmla="*/ 6003139 w 6730700"/>
              <a:gd name="csY324" fmla="*/ 419827 h 6210000"/>
              <a:gd name="csX325" fmla="*/ 5943329 w 6730700"/>
              <a:gd name="csY325" fmla="*/ 430613 h 6210000"/>
              <a:gd name="csX326" fmla="*/ 5908259 w 6730700"/>
              <a:gd name="csY326" fmla="*/ 393460 h 6210000"/>
              <a:gd name="csX327" fmla="*/ 5904946 w 6730700"/>
              <a:gd name="csY327" fmla="*/ 389214 h 6210000"/>
              <a:gd name="csX328" fmla="*/ 5966647 w 6730700"/>
              <a:gd name="csY328" fmla="*/ 335358 h 6210000"/>
              <a:gd name="csX329" fmla="*/ 5998540 w 6730700"/>
              <a:gd name="csY329" fmla="*/ 367330 h 6210000"/>
              <a:gd name="csX330" fmla="*/ 5966647 w 6730700"/>
              <a:gd name="csY330" fmla="*/ 399302 h 6210000"/>
              <a:gd name="csX331" fmla="*/ 5934517 w 6730700"/>
              <a:gd name="csY331" fmla="*/ 367330 h 6210000"/>
              <a:gd name="csX332" fmla="*/ 5966647 w 6730700"/>
              <a:gd name="csY332" fmla="*/ 335358 h 6210000"/>
              <a:gd name="csX333" fmla="*/ 5965246 w 6730700"/>
              <a:gd name="csY333" fmla="*/ 324000 h 6210000"/>
              <a:gd name="csX334" fmla="*/ 5917051 w 6730700"/>
              <a:gd name="csY334" fmla="*/ 372373 h 6210000"/>
              <a:gd name="csX335" fmla="*/ 5965246 w 6730700"/>
              <a:gd name="csY335" fmla="*/ 420745 h 6210000"/>
              <a:gd name="csX336" fmla="*/ 6013441 w 6730700"/>
              <a:gd name="csY336" fmla="*/ 372373 h 6210000"/>
              <a:gd name="csX337" fmla="*/ 5965246 w 6730700"/>
              <a:gd name="csY337" fmla="*/ 324000 h 6210000"/>
              <a:gd name="csX338" fmla="*/ 0 w 6730700"/>
              <a:gd name="csY338" fmla="*/ 0 h 6210000"/>
              <a:gd name="csX339" fmla="*/ 6730700 w 6730700"/>
              <a:gd name="csY339" fmla="*/ 0 h 6210000"/>
              <a:gd name="csX340" fmla="*/ 6730700 w 6730700"/>
              <a:gd name="csY340" fmla="*/ 6210000 h 6210000"/>
              <a:gd name="csX341" fmla="*/ 0 w 6730700"/>
              <a:gd name="csY341" fmla="*/ 6210000 h 621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Lst>
            <a:rect l="l" t="t" r="r" b="b"/>
            <a:pathLst>
              <a:path w="6730700" h="6210000">
                <a:moveTo>
                  <a:pt x="6217885" y="721963"/>
                </a:moveTo>
                <a:cubicBezTo>
                  <a:pt x="6224190" y="721963"/>
                  <a:pt x="6227111" y="723956"/>
                  <a:pt x="6229568" y="725950"/>
                </a:cubicBezTo>
                <a:cubicBezTo>
                  <a:pt x="6229568" y="769003"/>
                  <a:pt x="6229568" y="769003"/>
                  <a:pt x="6229568" y="769003"/>
                </a:cubicBezTo>
                <a:lnTo>
                  <a:pt x="6229450" y="769003"/>
                </a:lnTo>
                <a:cubicBezTo>
                  <a:pt x="6229450" y="772171"/>
                  <a:pt x="6224190" y="773927"/>
                  <a:pt x="6218704" y="773927"/>
                </a:cubicBezTo>
                <a:cubicBezTo>
                  <a:pt x="6206902" y="773927"/>
                  <a:pt x="6198494" y="763951"/>
                  <a:pt x="6198494" y="746949"/>
                </a:cubicBezTo>
                <a:cubicBezTo>
                  <a:pt x="6198494" y="731930"/>
                  <a:pt x="6206675" y="721963"/>
                  <a:pt x="6217885" y="721963"/>
                </a:cubicBezTo>
                <a:close/>
                <a:moveTo>
                  <a:pt x="6114913" y="721223"/>
                </a:moveTo>
                <a:cubicBezTo>
                  <a:pt x="6119235" y="721223"/>
                  <a:pt x="6122393" y="722160"/>
                  <a:pt x="6125669" y="725328"/>
                </a:cubicBezTo>
                <a:cubicBezTo>
                  <a:pt x="6129182" y="728614"/>
                  <a:pt x="6131402" y="735897"/>
                  <a:pt x="6131402" y="747748"/>
                </a:cubicBezTo>
                <a:cubicBezTo>
                  <a:pt x="6131402" y="759254"/>
                  <a:pt x="6129182" y="766764"/>
                  <a:pt x="6125669" y="770049"/>
                </a:cubicBezTo>
                <a:cubicBezTo>
                  <a:pt x="6122393" y="773217"/>
                  <a:pt x="6119235" y="774036"/>
                  <a:pt x="6114913" y="774036"/>
                </a:cubicBezTo>
                <a:cubicBezTo>
                  <a:pt x="6110591" y="774036"/>
                  <a:pt x="6107660" y="773217"/>
                  <a:pt x="6104394" y="770049"/>
                </a:cubicBezTo>
                <a:cubicBezTo>
                  <a:pt x="6100999" y="766764"/>
                  <a:pt x="6098660" y="759481"/>
                  <a:pt x="6098660" y="747748"/>
                </a:cubicBezTo>
                <a:cubicBezTo>
                  <a:pt x="6098660" y="736124"/>
                  <a:pt x="6100999" y="728614"/>
                  <a:pt x="6104394" y="725328"/>
                </a:cubicBezTo>
                <a:cubicBezTo>
                  <a:pt x="6107670" y="722160"/>
                  <a:pt x="6110827" y="721223"/>
                  <a:pt x="6114913" y="721223"/>
                </a:cubicBezTo>
                <a:close/>
                <a:moveTo>
                  <a:pt x="5965236" y="721223"/>
                </a:moveTo>
                <a:cubicBezTo>
                  <a:pt x="5969588" y="721223"/>
                  <a:pt x="5972519" y="722160"/>
                  <a:pt x="5975805" y="725328"/>
                </a:cubicBezTo>
                <a:cubicBezTo>
                  <a:pt x="5979328" y="728614"/>
                  <a:pt x="5981558" y="735897"/>
                  <a:pt x="5981558" y="747748"/>
                </a:cubicBezTo>
                <a:cubicBezTo>
                  <a:pt x="5981558" y="759254"/>
                  <a:pt x="5979328" y="766764"/>
                  <a:pt x="5975805" y="770049"/>
                </a:cubicBezTo>
                <a:cubicBezTo>
                  <a:pt x="5972519" y="773217"/>
                  <a:pt x="5969351" y="774036"/>
                  <a:pt x="5965236" y="774036"/>
                </a:cubicBezTo>
                <a:cubicBezTo>
                  <a:pt x="5960894" y="774036"/>
                  <a:pt x="5957954" y="773217"/>
                  <a:pt x="5954431" y="770049"/>
                </a:cubicBezTo>
                <a:cubicBezTo>
                  <a:pt x="5951026" y="766764"/>
                  <a:pt x="5948678" y="759481"/>
                  <a:pt x="5948678" y="747748"/>
                </a:cubicBezTo>
                <a:cubicBezTo>
                  <a:pt x="5948678" y="736124"/>
                  <a:pt x="5951026" y="728614"/>
                  <a:pt x="5954431" y="725328"/>
                </a:cubicBezTo>
                <a:cubicBezTo>
                  <a:pt x="5957717" y="722160"/>
                  <a:pt x="5960884" y="721223"/>
                  <a:pt x="5965236" y="721223"/>
                </a:cubicBezTo>
                <a:close/>
                <a:moveTo>
                  <a:pt x="5853216" y="721223"/>
                </a:moveTo>
                <a:cubicBezTo>
                  <a:pt x="5857557" y="721223"/>
                  <a:pt x="5860498" y="722160"/>
                  <a:pt x="5863903" y="725328"/>
                </a:cubicBezTo>
                <a:cubicBezTo>
                  <a:pt x="5867317" y="728614"/>
                  <a:pt x="5869655" y="735897"/>
                  <a:pt x="5869655" y="747748"/>
                </a:cubicBezTo>
                <a:cubicBezTo>
                  <a:pt x="5869655" y="759254"/>
                  <a:pt x="5867425" y="766764"/>
                  <a:pt x="5863903" y="770049"/>
                </a:cubicBezTo>
                <a:cubicBezTo>
                  <a:pt x="5860616" y="773217"/>
                  <a:pt x="5857557" y="774036"/>
                  <a:pt x="5853216" y="774036"/>
                </a:cubicBezTo>
                <a:cubicBezTo>
                  <a:pt x="5848874" y="774036"/>
                  <a:pt x="5845933" y="773217"/>
                  <a:pt x="5842647" y="770049"/>
                </a:cubicBezTo>
                <a:cubicBezTo>
                  <a:pt x="5839124" y="766764"/>
                  <a:pt x="5836894" y="759481"/>
                  <a:pt x="5836894" y="747748"/>
                </a:cubicBezTo>
                <a:cubicBezTo>
                  <a:pt x="5836894" y="736124"/>
                  <a:pt x="5839124" y="728614"/>
                  <a:pt x="5842647" y="725328"/>
                </a:cubicBezTo>
                <a:cubicBezTo>
                  <a:pt x="5845933" y="722160"/>
                  <a:pt x="5848992" y="721223"/>
                  <a:pt x="5853216" y="721223"/>
                </a:cubicBezTo>
                <a:close/>
                <a:moveTo>
                  <a:pt x="6256725" y="715786"/>
                </a:moveTo>
                <a:cubicBezTo>
                  <a:pt x="6254633" y="715786"/>
                  <a:pt x="6254633" y="716486"/>
                  <a:pt x="6254633" y="718006"/>
                </a:cubicBezTo>
                <a:cubicBezTo>
                  <a:pt x="6254633" y="777085"/>
                  <a:pt x="6254633" y="777085"/>
                  <a:pt x="6254633" y="777085"/>
                </a:cubicBezTo>
                <a:cubicBezTo>
                  <a:pt x="6254633" y="778842"/>
                  <a:pt x="6254633" y="779306"/>
                  <a:pt x="6256498" y="779306"/>
                </a:cubicBezTo>
                <a:cubicBezTo>
                  <a:pt x="6263129" y="779306"/>
                  <a:pt x="6263129" y="779306"/>
                  <a:pt x="6263129" y="779306"/>
                </a:cubicBezTo>
                <a:cubicBezTo>
                  <a:pt x="6264984" y="779187"/>
                  <a:pt x="6265448" y="779187"/>
                  <a:pt x="6265448" y="777085"/>
                </a:cubicBezTo>
                <a:cubicBezTo>
                  <a:pt x="6265448" y="718006"/>
                  <a:pt x="6265448" y="718006"/>
                  <a:pt x="6265448" y="718006"/>
                </a:cubicBezTo>
                <a:cubicBezTo>
                  <a:pt x="6265448" y="716131"/>
                  <a:pt x="6264984" y="715786"/>
                  <a:pt x="6263119" y="715786"/>
                </a:cubicBezTo>
                <a:cubicBezTo>
                  <a:pt x="6256725" y="715786"/>
                  <a:pt x="6256725" y="715786"/>
                  <a:pt x="6256725" y="715786"/>
                </a:cubicBezTo>
                <a:close/>
                <a:moveTo>
                  <a:pt x="6364502" y="715480"/>
                </a:moveTo>
                <a:cubicBezTo>
                  <a:pt x="6362272" y="715480"/>
                  <a:pt x="6361443" y="715361"/>
                  <a:pt x="6360742" y="717473"/>
                </a:cubicBezTo>
                <a:cubicBezTo>
                  <a:pt x="6357220" y="728012"/>
                  <a:pt x="6348161" y="739380"/>
                  <a:pt x="6338994" y="744768"/>
                </a:cubicBezTo>
                <a:cubicBezTo>
                  <a:pt x="6338638" y="745123"/>
                  <a:pt x="6338520" y="745469"/>
                  <a:pt x="6338520" y="745469"/>
                </a:cubicBezTo>
                <a:cubicBezTo>
                  <a:pt x="6338520" y="745587"/>
                  <a:pt x="6338638" y="745932"/>
                  <a:pt x="6338638" y="746169"/>
                </a:cubicBezTo>
                <a:cubicBezTo>
                  <a:pt x="6360506" y="777441"/>
                  <a:pt x="6360506" y="777441"/>
                  <a:pt x="6360506" y="777441"/>
                </a:cubicBezTo>
                <a:cubicBezTo>
                  <a:pt x="6361798" y="779315"/>
                  <a:pt x="6362272" y="779315"/>
                  <a:pt x="6364147" y="779315"/>
                </a:cubicBezTo>
                <a:cubicBezTo>
                  <a:pt x="6372495" y="779315"/>
                  <a:pt x="6372495" y="779315"/>
                  <a:pt x="6372495" y="779315"/>
                </a:cubicBezTo>
                <a:cubicBezTo>
                  <a:pt x="6373077" y="779187"/>
                  <a:pt x="6374252" y="779187"/>
                  <a:pt x="6374252" y="777786"/>
                </a:cubicBezTo>
                <a:cubicBezTo>
                  <a:pt x="6374252" y="777322"/>
                  <a:pt x="6373896" y="776730"/>
                  <a:pt x="6373433" y="776266"/>
                </a:cubicBezTo>
                <a:cubicBezTo>
                  <a:pt x="6350154" y="745459"/>
                  <a:pt x="6350154" y="745459"/>
                  <a:pt x="6350154" y="745459"/>
                </a:cubicBezTo>
                <a:cubicBezTo>
                  <a:pt x="6349917" y="745222"/>
                  <a:pt x="6349917" y="745222"/>
                  <a:pt x="6349917" y="745222"/>
                </a:cubicBezTo>
                <a:cubicBezTo>
                  <a:pt x="6358147" y="739133"/>
                  <a:pt x="6366614" y="729640"/>
                  <a:pt x="6371903" y="719338"/>
                </a:cubicBezTo>
                <a:cubicBezTo>
                  <a:pt x="6372377" y="718164"/>
                  <a:pt x="6372495" y="717582"/>
                  <a:pt x="6372495" y="716881"/>
                </a:cubicBezTo>
                <a:cubicBezTo>
                  <a:pt x="6372495" y="715825"/>
                  <a:pt x="6371903" y="715480"/>
                  <a:pt x="6370265" y="715480"/>
                </a:cubicBezTo>
                <a:cubicBezTo>
                  <a:pt x="6364502" y="715480"/>
                  <a:pt x="6364502" y="715480"/>
                  <a:pt x="6364502" y="715480"/>
                </a:cubicBezTo>
                <a:close/>
                <a:moveTo>
                  <a:pt x="5884467" y="715480"/>
                </a:moveTo>
                <a:cubicBezTo>
                  <a:pt x="5883994" y="715480"/>
                  <a:pt x="5882819" y="715480"/>
                  <a:pt x="5882819" y="717118"/>
                </a:cubicBezTo>
                <a:cubicBezTo>
                  <a:pt x="5882819" y="717592"/>
                  <a:pt x="5882938" y="718174"/>
                  <a:pt x="5883293" y="718874"/>
                </a:cubicBezTo>
                <a:cubicBezTo>
                  <a:pt x="5905476" y="777421"/>
                  <a:pt x="5905476" y="777421"/>
                  <a:pt x="5905476" y="777421"/>
                </a:cubicBezTo>
                <a:cubicBezTo>
                  <a:pt x="5906177" y="778832"/>
                  <a:pt x="5906413" y="779296"/>
                  <a:pt x="5907469" y="779296"/>
                </a:cubicBezTo>
                <a:cubicBezTo>
                  <a:pt x="5912285" y="779296"/>
                  <a:pt x="5912285" y="779296"/>
                  <a:pt x="5912285" y="779296"/>
                </a:cubicBezTo>
                <a:cubicBezTo>
                  <a:pt x="5913696" y="779296"/>
                  <a:pt x="5914041" y="779059"/>
                  <a:pt x="5914515" y="777421"/>
                </a:cubicBezTo>
                <a:cubicBezTo>
                  <a:pt x="5936116" y="718647"/>
                  <a:pt x="5936116" y="718647"/>
                  <a:pt x="5936116" y="718647"/>
                </a:cubicBezTo>
                <a:cubicBezTo>
                  <a:pt x="5936353" y="717236"/>
                  <a:pt x="5936353" y="717118"/>
                  <a:pt x="5936353" y="716773"/>
                </a:cubicBezTo>
                <a:cubicBezTo>
                  <a:pt x="5936353" y="715480"/>
                  <a:pt x="5935415" y="715480"/>
                  <a:pt x="5934823" y="715480"/>
                </a:cubicBezTo>
                <a:cubicBezTo>
                  <a:pt x="5928715" y="715480"/>
                  <a:pt x="5928715" y="715480"/>
                  <a:pt x="5928715" y="715480"/>
                </a:cubicBezTo>
                <a:cubicBezTo>
                  <a:pt x="5927896" y="715717"/>
                  <a:pt x="5927777" y="716062"/>
                  <a:pt x="5927185" y="717236"/>
                </a:cubicBezTo>
                <a:cubicBezTo>
                  <a:pt x="5911219" y="764168"/>
                  <a:pt x="5911219" y="764168"/>
                  <a:pt x="5911219" y="764168"/>
                </a:cubicBezTo>
                <a:cubicBezTo>
                  <a:pt x="5894789" y="717473"/>
                  <a:pt x="5894789" y="717473"/>
                  <a:pt x="5894789" y="717473"/>
                </a:cubicBezTo>
                <a:cubicBezTo>
                  <a:pt x="5894088" y="715717"/>
                  <a:pt x="5893852" y="715480"/>
                  <a:pt x="5891977" y="715480"/>
                </a:cubicBezTo>
                <a:cubicBezTo>
                  <a:pt x="5884467" y="715480"/>
                  <a:pt x="5884467" y="715480"/>
                  <a:pt x="5884467" y="715480"/>
                </a:cubicBezTo>
                <a:close/>
                <a:moveTo>
                  <a:pt x="6298387" y="714414"/>
                </a:moveTo>
                <a:cubicBezTo>
                  <a:pt x="6287345" y="714414"/>
                  <a:pt x="6277368" y="720522"/>
                  <a:pt x="6277368" y="731900"/>
                </a:cubicBezTo>
                <a:cubicBezTo>
                  <a:pt x="6277368" y="742577"/>
                  <a:pt x="6284888" y="747037"/>
                  <a:pt x="6293927" y="750916"/>
                </a:cubicBezTo>
                <a:cubicBezTo>
                  <a:pt x="6300972" y="753846"/>
                  <a:pt x="6307545" y="756669"/>
                  <a:pt x="6307545" y="763240"/>
                </a:cubicBezTo>
                <a:cubicBezTo>
                  <a:pt x="6307545" y="768283"/>
                  <a:pt x="6303548" y="774036"/>
                  <a:pt x="6294983" y="774036"/>
                </a:cubicBezTo>
                <a:cubicBezTo>
                  <a:pt x="6286289" y="774036"/>
                  <a:pt x="6283832" y="767583"/>
                  <a:pt x="6279599" y="767583"/>
                </a:cubicBezTo>
                <a:cubicBezTo>
                  <a:pt x="6277605" y="767583"/>
                  <a:pt x="6275020" y="768520"/>
                  <a:pt x="6275020" y="771687"/>
                </a:cubicBezTo>
                <a:cubicBezTo>
                  <a:pt x="6275020" y="776730"/>
                  <a:pt x="6284888" y="781082"/>
                  <a:pt x="6294746" y="781082"/>
                </a:cubicBezTo>
                <a:cubicBezTo>
                  <a:pt x="6305897" y="781200"/>
                  <a:pt x="6317294" y="775329"/>
                  <a:pt x="6317294" y="762066"/>
                </a:cubicBezTo>
                <a:cubicBezTo>
                  <a:pt x="6317294" y="741294"/>
                  <a:pt x="6287118" y="744580"/>
                  <a:pt x="6287118" y="730844"/>
                </a:cubicBezTo>
                <a:cubicBezTo>
                  <a:pt x="6287118" y="726147"/>
                  <a:pt x="6290759" y="721450"/>
                  <a:pt x="6297686" y="721450"/>
                </a:cubicBezTo>
                <a:cubicBezTo>
                  <a:pt x="6304851" y="721450"/>
                  <a:pt x="6306725" y="726147"/>
                  <a:pt x="6310367" y="726147"/>
                </a:cubicBezTo>
                <a:cubicBezTo>
                  <a:pt x="6312242" y="726147"/>
                  <a:pt x="6314945" y="725091"/>
                  <a:pt x="6314945" y="721805"/>
                </a:cubicBezTo>
                <a:cubicBezTo>
                  <a:pt x="6314945" y="717108"/>
                  <a:pt x="6306962" y="714414"/>
                  <a:pt x="6298387" y="714414"/>
                </a:cubicBezTo>
                <a:close/>
                <a:moveTo>
                  <a:pt x="6170380" y="714059"/>
                </a:moveTo>
                <a:cubicBezTo>
                  <a:pt x="6163818" y="714059"/>
                  <a:pt x="6159713" y="715115"/>
                  <a:pt x="6156427" y="715934"/>
                </a:cubicBezTo>
                <a:cubicBezTo>
                  <a:pt x="6152204" y="716990"/>
                  <a:pt x="6150684" y="718973"/>
                  <a:pt x="6150684" y="720957"/>
                </a:cubicBezTo>
                <a:cubicBezTo>
                  <a:pt x="6150684" y="776967"/>
                  <a:pt x="6150684" y="776967"/>
                  <a:pt x="6150684" y="776967"/>
                </a:cubicBezTo>
                <a:cubicBezTo>
                  <a:pt x="6150684" y="778842"/>
                  <a:pt x="6151385" y="778950"/>
                  <a:pt x="6153151" y="778950"/>
                </a:cubicBezTo>
                <a:cubicBezTo>
                  <a:pt x="6159368" y="778950"/>
                  <a:pt x="6159368" y="778950"/>
                  <a:pt x="6159368" y="778950"/>
                </a:cubicBezTo>
                <a:cubicBezTo>
                  <a:pt x="6160887" y="778950"/>
                  <a:pt x="6161598" y="778832"/>
                  <a:pt x="6161598" y="776967"/>
                </a:cubicBezTo>
                <a:cubicBezTo>
                  <a:pt x="6161598" y="725634"/>
                  <a:pt x="6161598" y="725634"/>
                  <a:pt x="6161598" y="725634"/>
                </a:cubicBezTo>
                <a:cubicBezTo>
                  <a:pt x="6161598" y="722358"/>
                  <a:pt x="6164173" y="720138"/>
                  <a:pt x="6167815" y="720138"/>
                </a:cubicBezTo>
                <a:cubicBezTo>
                  <a:pt x="6175670" y="720138"/>
                  <a:pt x="6176844" y="725871"/>
                  <a:pt x="6181067" y="725871"/>
                </a:cubicBezTo>
                <a:cubicBezTo>
                  <a:pt x="6184097" y="725989"/>
                  <a:pt x="6186445" y="724114"/>
                  <a:pt x="6186445" y="720493"/>
                </a:cubicBezTo>
                <a:cubicBezTo>
                  <a:pt x="6186445" y="715934"/>
                  <a:pt x="6178946" y="714059"/>
                  <a:pt x="6170380" y="714059"/>
                </a:cubicBezTo>
                <a:close/>
                <a:moveTo>
                  <a:pt x="6114923" y="714059"/>
                </a:moveTo>
                <a:cubicBezTo>
                  <a:pt x="6109426" y="714059"/>
                  <a:pt x="6103584" y="715707"/>
                  <a:pt x="6099025" y="718638"/>
                </a:cubicBezTo>
                <a:cubicBezTo>
                  <a:pt x="6092009" y="723572"/>
                  <a:pt x="6087332" y="732956"/>
                  <a:pt x="6087332" y="747748"/>
                </a:cubicBezTo>
                <a:cubicBezTo>
                  <a:pt x="6087332" y="762422"/>
                  <a:pt x="6092009" y="771816"/>
                  <a:pt x="6099025" y="776740"/>
                </a:cubicBezTo>
                <a:cubicBezTo>
                  <a:pt x="6103348" y="779789"/>
                  <a:pt x="6109318" y="781200"/>
                  <a:pt x="6114923" y="781200"/>
                </a:cubicBezTo>
                <a:cubicBezTo>
                  <a:pt x="6120656" y="781200"/>
                  <a:pt x="6126498" y="779671"/>
                  <a:pt x="6130820" y="776740"/>
                </a:cubicBezTo>
                <a:cubicBezTo>
                  <a:pt x="6137954" y="771806"/>
                  <a:pt x="6142632" y="762422"/>
                  <a:pt x="6142632" y="747748"/>
                </a:cubicBezTo>
                <a:cubicBezTo>
                  <a:pt x="6142632" y="732956"/>
                  <a:pt x="6137954" y="723572"/>
                  <a:pt x="6130820" y="718638"/>
                </a:cubicBezTo>
                <a:cubicBezTo>
                  <a:pt x="6126379" y="715470"/>
                  <a:pt x="6120528" y="714059"/>
                  <a:pt x="6114923" y="714059"/>
                </a:cubicBezTo>
                <a:close/>
                <a:moveTo>
                  <a:pt x="6053110" y="714059"/>
                </a:moveTo>
                <a:cubicBezTo>
                  <a:pt x="6043775" y="714059"/>
                  <a:pt x="6037469" y="716052"/>
                  <a:pt x="6034085" y="717108"/>
                </a:cubicBezTo>
                <a:cubicBezTo>
                  <a:pt x="6029881" y="718519"/>
                  <a:pt x="6028598" y="720039"/>
                  <a:pt x="6028598" y="722151"/>
                </a:cubicBezTo>
                <a:cubicBezTo>
                  <a:pt x="6028598" y="777065"/>
                  <a:pt x="6028598" y="777065"/>
                  <a:pt x="6028598" y="777065"/>
                </a:cubicBezTo>
                <a:cubicBezTo>
                  <a:pt x="6028598" y="779059"/>
                  <a:pt x="6029062" y="779296"/>
                  <a:pt x="6030937" y="779296"/>
                </a:cubicBezTo>
                <a:cubicBezTo>
                  <a:pt x="6037006" y="779296"/>
                  <a:pt x="6037006" y="779296"/>
                  <a:pt x="6037006" y="779296"/>
                </a:cubicBezTo>
                <a:cubicBezTo>
                  <a:pt x="6038752" y="779296"/>
                  <a:pt x="6039571" y="779059"/>
                  <a:pt x="6039571" y="776829"/>
                </a:cubicBezTo>
                <a:cubicBezTo>
                  <a:pt x="6039571" y="726256"/>
                  <a:pt x="6039571" y="726256"/>
                  <a:pt x="6039571" y="726256"/>
                </a:cubicBezTo>
                <a:cubicBezTo>
                  <a:pt x="6039571" y="723552"/>
                  <a:pt x="6044239" y="720739"/>
                  <a:pt x="6052765" y="720739"/>
                </a:cubicBezTo>
                <a:cubicBezTo>
                  <a:pt x="6067004" y="720739"/>
                  <a:pt x="6067004" y="730006"/>
                  <a:pt x="6067004" y="735758"/>
                </a:cubicBezTo>
                <a:cubicBezTo>
                  <a:pt x="6067004" y="776829"/>
                  <a:pt x="6067004" y="776829"/>
                  <a:pt x="6067004" y="776829"/>
                </a:cubicBezTo>
                <a:cubicBezTo>
                  <a:pt x="6067004" y="779059"/>
                  <a:pt x="6067705" y="779296"/>
                  <a:pt x="6069807" y="779296"/>
                </a:cubicBezTo>
                <a:cubicBezTo>
                  <a:pt x="6076576" y="779296"/>
                  <a:pt x="6076576" y="779296"/>
                  <a:pt x="6076576" y="779296"/>
                </a:cubicBezTo>
                <a:cubicBezTo>
                  <a:pt x="6077740" y="779069"/>
                  <a:pt x="6077740" y="777894"/>
                  <a:pt x="6077740" y="776839"/>
                </a:cubicBezTo>
                <a:cubicBezTo>
                  <a:pt x="6077740" y="734357"/>
                  <a:pt x="6077740" y="734357"/>
                  <a:pt x="6077740" y="734357"/>
                </a:cubicBezTo>
                <a:cubicBezTo>
                  <a:pt x="6077740" y="726966"/>
                  <a:pt x="6077504" y="714059"/>
                  <a:pt x="6053110" y="714059"/>
                </a:cubicBezTo>
                <a:close/>
                <a:moveTo>
                  <a:pt x="5965009" y="714059"/>
                </a:moveTo>
                <a:cubicBezTo>
                  <a:pt x="5959375" y="714059"/>
                  <a:pt x="5953622" y="715707"/>
                  <a:pt x="5949043" y="718638"/>
                </a:cubicBezTo>
                <a:cubicBezTo>
                  <a:pt x="5941997" y="723572"/>
                  <a:pt x="5937300" y="732956"/>
                  <a:pt x="5937300" y="747748"/>
                </a:cubicBezTo>
                <a:cubicBezTo>
                  <a:pt x="5937300" y="762422"/>
                  <a:pt x="5941997" y="771816"/>
                  <a:pt x="5949043" y="776740"/>
                </a:cubicBezTo>
                <a:cubicBezTo>
                  <a:pt x="5953385" y="779789"/>
                  <a:pt x="5959375" y="781200"/>
                  <a:pt x="5965009" y="781200"/>
                </a:cubicBezTo>
                <a:cubicBezTo>
                  <a:pt x="5970762" y="781200"/>
                  <a:pt x="5976515" y="779671"/>
                  <a:pt x="5980976" y="776740"/>
                </a:cubicBezTo>
                <a:cubicBezTo>
                  <a:pt x="5988140" y="771806"/>
                  <a:pt x="5992837" y="762422"/>
                  <a:pt x="5992837" y="747748"/>
                </a:cubicBezTo>
                <a:cubicBezTo>
                  <a:pt x="5992837" y="732956"/>
                  <a:pt x="5988140" y="723572"/>
                  <a:pt x="5980976" y="718638"/>
                </a:cubicBezTo>
                <a:cubicBezTo>
                  <a:pt x="5976752" y="715470"/>
                  <a:pt x="5970762" y="714059"/>
                  <a:pt x="5965009" y="714059"/>
                </a:cubicBezTo>
                <a:close/>
                <a:moveTo>
                  <a:pt x="5853225" y="714059"/>
                </a:moveTo>
                <a:cubicBezTo>
                  <a:pt x="5847591" y="714059"/>
                  <a:pt x="5841719" y="715707"/>
                  <a:pt x="5837259" y="718638"/>
                </a:cubicBezTo>
                <a:cubicBezTo>
                  <a:pt x="5830095" y="723572"/>
                  <a:pt x="5825398" y="732956"/>
                  <a:pt x="5825398" y="747748"/>
                </a:cubicBezTo>
                <a:cubicBezTo>
                  <a:pt x="5825398" y="762422"/>
                  <a:pt x="5830095" y="771816"/>
                  <a:pt x="5837259" y="776740"/>
                </a:cubicBezTo>
                <a:cubicBezTo>
                  <a:pt x="5841601" y="779789"/>
                  <a:pt x="5847472" y="781200"/>
                  <a:pt x="5853225" y="781200"/>
                </a:cubicBezTo>
                <a:cubicBezTo>
                  <a:pt x="5858978" y="781200"/>
                  <a:pt x="5864613" y="779671"/>
                  <a:pt x="5869192" y="776740"/>
                </a:cubicBezTo>
                <a:cubicBezTo>
                  <a:pt x="5876237" y="771806"/>
                  <a:pt x="5880935" y="762422"/>
                  <a:pt x="5880935" y="747748"/>
                </a:cubicBezTo>
                <a:cubicBezTo>
                  <a:pt x="5880935" y="732956"/>
                  <a:pt x="5876237" y="723572"/>
                  <a:pt x="5869192" y="718638"/>
                </a:cubicBezTo>
                <a:cubicBezTo>
                  <a:pt x="5864613" y="715470"/>
                  <a:pt x="5858978" y="714059"/>
                  <a:pt x="5853225" y="714059"/>
                </a:cubicBezTo>
                <a:close/>
                <a:moveTo>
                  <a:pt x="5791294" y="714059"/>
                </a:moveTo>
                <a:cubicBezTo>
                  <a:pt x="5781910" y="714059"/>
                  <a:pt x="5775693" y="716052"/>
                  <a:pt x="5772180" y="717108"/>
                </a:cubicBezTo>
                <a:cubicBezTo>
                  <a:pt x="5768075" y="718519"/>
                  <a:pt x="5766664" y="720039"/>
                  <a:pt x="5766664" y="722151"/>
                </a:cubicBezTo>
                <a:cubicBezTo>
                  <a:pt x="5766664" y="777065"/>
                  <a:pt x="5766664" y="777065"/>
                  <a:pt x="5766664" y="777065"/>
                </a:cubicBezTo>
                <a:cubicBezTo>
                  <a:pt x="5766664" y="779059"/>
                  <a:pt x="5767138" y="779296"/>
                  <a:pt x="5768894" y="779296"/>
                </a:cubicBezTo>
                <a:cubicBezTo>
                  <a:pt x="5774993" y="779296"/>
                  <a:pt x="5774993" y="779296"/>
                  <a:pt x="5774993" y="779296"/>
                </a:cubicBezTo>
                <a:cubicBezTo>
                  <a:pt x="5776749" y="779296"/>
                  <a:pt x="5777568" y="779059"/>
                  <a:pt x="5777568" y="776829"/>
                </a:cubicBezTo>
                <a:cubicBezTo>
                  <a:pt x="5777568" y="726256"/>
                  <a:pt x="5777568" y="726256"/>
                  <a:pt x="5777568" y="726256"/>
                </a:cubicBezTo>
                <a:cubicBezTo>
                  <a:pt x="5777568" y="723552"/>
                  <a:pt x="5782255" y="720739"/>
                  <a:pt x="5790821" y="720739"/>
                </a:cubicBezTo>
                <a:cubicBezTo>
                  <a:pt x="5805129" y="720739"/>
                  <a:pt x="5805129" y="730006"/>
                  <a:pt x="5805129" y="735758"/>
                </a:cubicBezTo>
                <a:cubicBezTo>
                  <a:pt x="5805129" y="776829"/>
                  <a:pt x="5805129" y="776829"/>
                  <a:pt x="5805129" y="776829"/>
                </a:cubicBezTo>
                <a:cubicBezTo>
                  <a:pt x="5805129" y="779059"/>
                  <a:pt x="5805830" y="779296"/>
                  <a:pt x="5807942" y="779296"/>
                </a:cubicBezTo>
                <a:cubicBezTo>
                  <a:pt x="5814740" y="779296"/>
                  <a:pt x="5814740" y="779296"/>
                  <a:pt x="5814740" y="779296"/>
                </a:cubicBezTo>
                <a:cubicBezTo>
                  <a:pt x="5815925" y="779069"/>
                  <a:pt x="5816043" y="777894"/>
                  <a:pt x="5816043" y="776839"/>
                </a:cubicBezTo>
                <a:cubicBezTo>
                  <a:pt x="5816043" y="734357"/>
                  <a:pt x="5816043" y="734357"/>
                  <a:pt x="5816043" y="734357"/>
                </a:cubicBezTo>
                <a:cubicBezTo>
                  <a:pt x="5816043" y="726966"/>
                  <a:pt x="5815925" y="714059"/>
                  <a:pt x="5791294" y="714059"/>
                </a:cubicBezTo>
                <a:close/>
                <a:moveTo>
                  <a:pt x="6231670" y="692734"/>
                </a:moveTo>
                <a:cubicBezTo>
                  <a:pt x="6229568" y="692734"/>
                  <a:pt x="6229450" y="693435"/>
                  <a:pt x="6229450" y="695547"/>
                </a:cubicBezTo>
                <a:cubicBezTo>
                  <a:pt x="6229450" y="717838"/>
                  <a:pt x="6229450" y="717838"/>
                  <a:pt x="6229450" y="717838"/>
                </a:cubicBezTo>
                <a:cubicBezTo>
                  <a:pt x="6225591" y="715845"/>
                  <a:pt x="6221851" y="714434"/>
                  <a:pt x="6216128" y="714434"/>
                </a:cubicBezTo>
                <a:cubicBezTo>
                  <a:pt x="6197083" y="714434"/>
                  <a:pt x="6187383" y="732620"/>
                  <a:pt x="6187383" y="747748"/>
                </a:cubicBezTo>
                <a:cubicBezTo>
                  <a:pt x="6187383" y="770276"/>
                  <a:pt x="6199649" y="781180"/>
                  <a:pt x="6218348" y="781180"/>
                </a:cubicBezTo>
                <a:cubicBezTo>
                  <a:pt x="6227348" y="781200"/>
                  <a:pt x="6240087" y="776740"/>
                  <a:pt x="6240087" y="772516"/>
                </a:cubicBezTo>
                <a:cubicBezTo>
                  <a:pt x="6240087" y="695201"/>
                  <a:pt x="6240087" y="695201"/>
                  <a:pt x="6240087" y="695201"/>
                </a:cubicBezTo>
                <a:cubicBezTo>
                  <a:pt x="6240087" y="692853"/>
                  <a:pt x="6239387" y="692734"/>
                  <a:pt x="6237749" y="692734"/>
                </a:cubicBezTo>
                <a:cubicBezTo>
                  <a:pt x="6231670" y="692734"/>
                  <a:pt x="6231670" y="692734"/>
                  <a:pt x="6231670" y="692734"/>
                </a:cubicBezTo>
                <a:close/>
                <a:moveTo>
                  <a:pt x="6328178" y="692507"/>
                </a:moveTo>
                <a:cubicBezTo>
                  <a:pt x="6326886" y="692507"/>
                  <a:pt x="6326175" y="692744"/>
                  <a:pt x="6326175" y="694501"/>
                </a:cubicBezTo>
                <a:cubicBezTo>
                  <a:pt x="6326175" y="777312"/>
                  <a:pt x="6326175" y="777312"/>
                  <a:pt x="6326175" y="777312"/>
                </a:cubicBezTo>
                <a:cubicBezTo>
                  <a:pt x="6326175" y="778950"/>
                  <a:pt x="6326530" y="779187"/>
                  <a:pt x="6328178" y="779187"/>
                </a:cubicBezTo>
                <a:cubicBezTo>
                  <a:pt x="6334642" y="779187"/>
                  <a:pt x="6334642" y="779187"/>
                  <a:pt x="6334642" y="779187"/>
                </a:cubicBezTo>
                <a:cubicBezTo>
                  <a:pt x="6336161" y="779187"/>
                  <a:pt x="6336872" y="779187"/>
                  <a:pt x="6336872" y="777431"/>
                </a:cubicBezTo>
                <a:cubicBezTo>
                  <a:pt x="6336872" y="694264"/>
                  <a:pt x="6336872" y="694264"/>
                  <a:pt x="6336872" y="694264"/>
                </a:cubicBezTo>
                <a:cubicBezTo>
                  <a:pt x="6336872" y="692507"/>
                  <a:pt x="6336053" y="692507"/>
                  <a:pt x="6334642" y="692507"/>
                </a:cubicBezTo>
                <a:cubicBezTo>
                  <a:pt x="6328178" y="692507"/>
                  <a:pt x="6328178" y="692507"/>
                  <a:pt x="6328178" y="692507"/>
                </a:cubicBezTo>
                <a:close/>
                <a:moveTo>
                  <a:pt x="6260336" y="691797"/>
                </a:moveTo>
                <a:cubicBezTo>
                  <a:pt x="6256379" y="691797"/>
                  <a:pt x="6253587" y="694609"/>
                  <a:pt x="6253587" y="698349"/>
                </a:cubicBezTo>
                <a:cubicBezTo>
                  <a:pt x="6253587" y="701862"/>
                  <a:pt x="6256034" y="704783"/>
                  <a:pt x="6260100" y="704783"/>
                </a:cubicBezTo>
                <a:cubicBezTo>
                  <a:pt x="6264284" y="704665"/>
                  <a:pt x="6266849" y="701389"/>
                  <a:pt x="6266731" y="697885"/>
                </a:cubicBezTo>
                <a:cubicBezTo>
                  <a:pt x="6266494" y="694254"/>
                  <a:pt x="6263593" y="691797"/>
                  <a:pt x="6260336" y="691797"/>
                </a:cubicBezTo>
                <a:close/>
                <a:moveTo>
                  <a:pt x="6390573" y="682491"/>
                </a:moveTo>
                <a:lnTo>
                  <a:pt x="6390813" y="682668"/>
                </a:lnTo>
                <a:lnTo>
                  <a:pt x="6390573" y="682728"/>
                </a:lnTo>
                <a:cubicBezTo>
                  <a:pt x="6390573" y="682728"/>
                  <a:pt x="6390573" y="682728"/>
                  <a:pt x="6390573" y="682491"/>
                </a:cubicBezTo>
                <a:close/>
                <a:moveTo>
                  <a:pt x="6383429" y="673926"/>
                </a:moveTo>
                <a:cubicBezTo>
                  <a:pt x="6387287" y="673926"/>
                  <a:pt x="6387287" y="673926"/>
                  <a:pt x="6387287" y="673926"/>
                </a:cubicBezTo>
                <a:cubicBezTo>
                  <a:pt x="6389280" y="673926"/>
                  <a:pt x="6392557" y="673926"/>
                  <a:pt x="6392557" y="677094"/>
                </a:cubicBezTo>
                <a:cubicBezTo>
                  <a:pt x="6392557" y="680261"/>
                  <a:pt x="6389162" y="680261"/>
                  <a:pt x="6387642" y="680261"/>
                </a:cubicBezTo>
                <a:cubicBezTo>
                  <a:pt x="6383429" y="680261"/>
                  <a:pt x="6383429" y="680261"/>
                  <a:pt x="6383429" y="680261"/>
                </a:cubicBezTo>
                <a:close/>
                <a:moveTo>
                  <a:pt x="6380153" y="670985"/>
                </a:moveTo>
                <a:lnTo>
                  <a:pt x="6380153" y="692231"/>
                </a:lnTo>
                <a:cubicBezTo>
                  <a:pt x="6383666" y="692231"/>
                  <a:pt x="6383666" y="692231"/>
                  <a:pt x="6383666" y="692231"/>
                </a:cubicBezTo>
                <a:cubicBezTo>
                  <a:pt x="6383666" y="683192"/>
                  <a:pt x="6383666" y="683192"/>
                  <a:pt x="6383666" y="683192"/>
                </a:cubicBezTo>
                <a:cubicBezTo>
                  <a:pt x="6385659" y="683192"/>
                  <a:pt x="6385659" y="683192"/>
                  <a:pt x="6385659" y="683192"/>
                </a:cubicBezTo>
                <a:cubicBezTo>
                  <a:pt x="6388471" y="683192"/>
                  <a:pt x="6389517" y="684248"/>
                  <a:pt x="6391974" y="688827"/>
                </a:cubicBezTo>
                <a:cubicBezTo>
                  <a:pt x="6393849" y="692113"/>
                  <a:pt x="6393849" y="692113"/>
                  <a:pt x="6393849" y="692113"/>
                </a:cubicBezTo>
                <a:cubicBezTo>
                  <a:pt x="6397944" y="692113"/>
                  <a:pt x="6397944" y="692113"/>
                  <a:pt x="6397944" y="692113"/>
                </a:cubicBezTo>
                <a:cubicBezTo>
                  <a:pt x="6395369" y="687889"/>
                  <a:pt x="6395369" y="687889"/>
                  <a:pt x="6395369" y="687889"/>
                </a:cubicBezTo>
                <a:cubicBezTo>
                  <a:pt x="6394081" y="685837"/>
                  <a:pt x="6393173" y="684633"/>
                  <a:pt x="6392442" y="683869"/>
                </a:cubicBezTo>
                <a:lnTo>
                  <a:pt x="6390813" y="682668"/>
                </a:lnTo>
                <a:lnTo>
                  <a:pt x="6393334" y="682039"/>
                </a:lnTo>
                <a:cubicBezTo>
                  <a:pt x="6395622" y="680900"/>
                  <a:pt x="6396543" y="678589"/>
                  <a:pt x="6396543" y="676738"/>
                </a:cubicBezTo>
                <a:cubicBezTo>
                  <a:pt x="6396543" y="674982"/>
                  <a:pt x="6395724" y="673452"/>
                  <a:pt x="6394550" y="672633"/>
                </a:cubicBezTo>
                <a:cubicBezTo>
                  <a:pt x="6392794" y="670985"/>
                  <a:pt x="6389991" y="670985"/>
                  <a:pt x="6387642" y="670985"/>
                </a:cubicBezTo>
                <a:cubicBezTo>
                  <a:pt x="6380153" y="670985"/>
                  <a:pt x="6380153" y="670985"/>
                  <a:pt x="6380153" y="670985"/>
                </a:cubicBezTo>
                <a:close/>
                <a:moveTo>
                  <a:pt x="6388462" y="665124"/>
                </a:moveTo>
                <a:cubicBezTo>
                  <a:pt x="6397471" y="665124"/>
                  <a:pt x="6404842" y="672396"/>
                  <a:pt x="6404842" y="681435"/>
                </a:cubicBezTo>
                <a:cubicBezTo>
                  <a:pt x="6404842" y="690475"/>
                  <a:pt x="6397589" y="697984"/>
                  <a:pt x="6388462" y="697984"/>
                </a:cubicBezTo>
                <a:cubicBezTo>
                  <a:pt x="6379452" y="697984"/>
                  <a:pt x="6372199" y="690475"/>
                  <a:pt x="6372199" y="681435"/>
                </a:cubicBezTo>
                <a:cubicBezTo>
                  <a:pt x="6372081" y="672396"/>
                  <a:pt x="6379334" y="665124"/>
                  <a:pt x="6388462" y="665124"/>
                </a:cubicBezTo>
                <a:close/>
                <a:moveTo>
                  <a:pt x="6388462" y="661719"/>
                </a:moveTo>
                <a:cubicBezTo>
                  <a:pt x="6377696" y="661719"/>
                  <a:pt x="6368923" y="670522"/>
                  <a:pt x="6368923" y="681435"/>
                </a:cubicBezTo>
                <a:cubicBezTo>
                  <a:pt x="6368923" y="692468"/>
                  <a:pt x="6377696" y="701152"/>
                  <a:pt x="6388462" y="701152"/>
                </a:cubicBezTo>
                <a:cubicBezTo>
                  <a:pt x="6399346" y="701152"/>
                  <a:pt x="6408000" y="692231"/>
                  <a:pt x="6408000" y="681435"/>
                </a:cubicBezTo>
                <a:cubicBezTo>
                  <a:pt x="6408000" y="670640"/>
                  <a:pt x="6399227" y="661719"/>
                  <a:pt x="6388462" y="661719"/>
                </a:cubicBezTo>
                <a:close/>
                <a:moveTo>
                  <a:pt x="6193357" y="533824"/>
                </a:moveTo>
                <a:cubicBezTo>
                  <a:pt x="6193898" y="533780"/>
                  <a:pt x="6194542" y="534044"/>
                  <a:pt x="6195011" y="534572"/>
                </a:cubicBezTo>
                <a:cubicBezTo>
                  <a:pt x="6202165" y="542071"/>
                  <a:pt x="6199708" y="598693"/>
                  <a:pt x="6198178" y="609943"/>
                </a:cubicBezTo>
                <a:cubicBezTo>
                  <a:pt x="6197823" y="612755"/>
                  <a:pt x="6195248" y="614985"/>
                  <a:pt x="6194547" y="609242"/>
                </a:cubicBezTo>
                <a:cubicBezTo>
                  <a:pt x="6193728" y="601979"/>
                  <a:pt x="6189860" y="585214"/>
                  <a:pt x="6188685" y="578296"/>
                </a:cubicBezTo>
                <a:cubicBezTo>
                  <a:pt x="6187393" y="571734"/>
                  <a:pt x="6191034" y="551692"/>
                  <a:pt x="6192317" y="534927"/>
                </a:cubicBezTo>
                <a:cubicBezTo>
                  <a:pt x="6192376" y="534221"/>
                  <a:pt x="6192815" y="533868"/>
                  <a:pt x="6193357" y="533824"/>
                </a:cubicBezTo>
                <a:close/>
                <a:moveTo>
                  <a:pt x="6057324" y="488972"/>
                </a:moveTo>
                <a:cubicBezTo>
                  <a:pt x="6075392" y="491439"/>
                  <a:pt x="6093687" y="491903"/>
                  <a:pt x="6111627" y="490847"/>
                </a:cubicBezTo>
                <a:cubicBezTo>
                  <a:pt x="6114558" y="501978"/>
                  <a:pt x="6114202" y="516513"/>
                  <a:pt x="6110097" y="520618"/>
                </a:cubicBezTo>
                <a:cubicBezTo>
                  <a:pt x="6103525" y="527299"/>
                  <a:pt x="6073862" y="526006"/>
                  <a:pt x="6065415" y="524723"/>
                </a:cubicBezTo>
                <a:cubicBezTo>
                  <a:pt x="6063067" y="524368"/>
                  <a:pt x="6060728" y="524023"/>
                  <a:pt x="6059435" y="517924"/>
                </a:cubicBezTo>
                <a:cubicBezTo>
                  <a:pt x="6058024" y="510770"/>
                  <a:pt x="6057906" y="497646"/>
                  <a:pt x="6057324" y="488972"/>
                </a:cubicBezTo>
                <a:close/>
                <a:moveTo>
                  <a:pt x="6152085" y="486041"/>
                </a:moveTo>
                <a:cubicBezTo>
                  <a:pt x="6157128" y="495416"/>
                  <a:pt x="6157483" y="500813"/>
                  <a:pt x="6156072" y="505501"/>
                </a:cubicBezTo>
                <a:cubicBezTo>
                  <a:pt x="6154661" y="510188"/>
                  <a:pt x="6148099" y="512882"/>
                  <a:pt x="6146688" y="512300"/>
                </a:cubicBezTo>
                <a:cubicBezTo>
                  <a:pt x="6146451" y="502215"/>
                  <a:pt x="6143757" y="494597"/>
                  <a:pt x="6139060" y="487798"/>
                </a:cubicBezTo>
                <a:cubicBezTo>
                  <a:pt x="6143175" y="487097"/>
                  <a:pt x="6147516" y="486515"/>
                  <a:pt x="6152085" y="486041"/>
                </a:cubicBezTo>
                <a:close/>
                <a:moveTo>
                  <a:pt x="6012296" y="479252"/>
                </a:moveTo>
                <a:cubicBezTo>
                  <a:pt x="6018039" y="481008"/>
                  <a:pt x="6023911" y="482538"/>
                  <a:pt x="6029654" y="483939"/>
                </a:cubicBezTo>
                <a:cubicBezTo>
                  <a:pt x="6025667" y="509142"/>
                  <a:pt x="6017813" y="516286"/>
                  <a:pt x="6013707" y="517934"/>
                </a:cubicBezTo>
                <a:cubicBezTo>
                  <a:pt x="6010530" y="519217"/>
                  <a:pt x="6003613" y="519918"/>
                  <a:pt x="6006080" y="511954"/>
                </a:cubicBezTo>
                <a:cubicBezTo>
                  <a:pt x="6008546" y="503981"/>
                  <a:pt x="6010885" y="490383"/>
                  <a:pt x="6012296" y="479252"/>
                </a:cubicBezTo>
                <a:close/>
                <a:moveTo>
                  <a:pt x="5992209" y="472822"/>
                </a:moveTo>
                <a:cubicBezTo>
                  <a:pt x="5994189" y="472954"/>
                  <a:pt x="5997297" y="474155"/>
                  <a:pt x="6003277" y="476440"/>
                </a:cubicBezTo>
                <a:cubicBezTo>
                  <a:pt x="6002458" y="495781"/>
                  <a:pt x="5997534" y="506803"/>
                  <a:pt x="5995649" y="516641"/>
                </a:cubicBezTo>
                <a:cubicBezTo>
                  <a:pt x="5993537" y="526727"/>
                  <a:pt x="6004797" y="529065"/>
                  <a:pt x="6014763" y="526608"/>
                </a:cubicBezTo>
                <a:cubicBezTo>
                  <a:pt x="6024611" y="524151"/>
                  <a:pt x="6033996" y="513829"/>
                  <a:pt x="6038101" y="485814"/>
                </a:cubicBezTo>
                <a:cubicBezTo>
                  <a:pt x="6041969" y="486752"/>
                  <a:pt x="6045137" y="487225"/>
                  <a:pt x="6049123" y="487808"/>
                </a:cubicBezTo>
                <a:cubicBezTo>
                  <a:pt x="6049597" y="516878"/>
                  <a:pt x="6051353" y="523441"/>
                  <a:pt x="6052528" y="526016"/>
                </a:cubicBezTo>
                <a:cubicBezTo>
                  <a:pt x="6054758" y="531404"/>
                  <a:pt x="6060156" y="533170"/>
                  <a:pt x="6064488" y="533516"/>
                </a:cubicBezTo>
                <a:cubicBezTo>
                  <a:pt x="6087243" y="535272"/>
                  <a:pt x="6109288" y="534572"/>
                  <a:pt x="6117025" y="526953"/>
                </a:cubicBezTo>
                <a:cubicBezTo>
                  <a:pt x="6124879" y="519217"/>
                  <a:pt x="6122186" y="500350"/>
                  <a:pt x="6119955" y="490146"/>
                </a:cubicBezTo>
                <a:cubicBezTo>
                  <a:pt x="6123587" y="489791"/>
                  <a:pt x="6126527" y="489446"/>
                  <a:pt x="6130040" y="488972"/>
                </a:cubicBezTo>
                <a:cubicBezTo>
                  <a:pt x="6137550" y="497646"/>
                  <a:pt x="6138487" y="507139"/>
                  <a:pt x="6138487" y="513119"/>
                </a:cubicBezTo>
                <a:cubicBezTo>
                  <a:pt x="6138487" y="519799"/>
                  <a:pt x="6145878" y="523312"/>
                  <a:pt x="6156200" y="516168"/>
                </a:cubicBezTo>
                <a:cubicBezTo>
                  <a:pt x="6166404" y="509014"/>
                  <a:pt x="6165466" y="496472"/>
                  <a:pt x="6159832" y="485104"/>
                </a:cubicBezTo>
                <a:cubicBezTo>
                  <a:pt x="6183288" y="483229"/>
                  <a:pt x="6182113" y="498583"/>
                  <a:pt x="6180821" y="517579"/>
                </a:cubicBezTo>
                <a:cubicBezTo>
                  <a:pt x="6179646" y="536338"/>
                  <a:pt x="6175423" y="562942"/>
                  <a:pt x="6169098" y="565991"/>
                </a:cubicBezTo>
                <a:cubicBezTo>
                  <a:pt x="6162644" y="568685"/>
                  <a:pt x="6152559" y="551455"/>
                  <a:pt x="6100022" y="550636"/>
                </a:cubicBezTo>
                <a:cubicBezTo>
                  <a:pt x="6062731" y="549936"/>
                  <a:pt x="6034114" y="554978"/>
                  <a:pt x="6028835" y="589082"/>
                </a:cubicBezTo>
                <a:cubicBezTo>
                  <a:pt x="6028480" y="591539"/>
                  <a:pt x="6027078" y="591194"/>
                  <a:pt x="6025786" y="589901"/>
                </a:cubicBezTo>
                <a:cubicBezTo>
                  <a:pt x="6015582" y="578770"/>
                  <a:pt x="6006198" y="573727"/>
                  <a:pt x="5991189" y="565054"/>
                </a:cubicBezTo>
                <a:cubicBezTo>
                  <a:pt x="5976061" y="556143"/>
                  <a:pt x="5965976" y="544193"/>
                  <a:pt x="5964101" y="532351"/>
                </a:cubicBezTo>
                <a:cubicBezTo>
                  <a:pt x="5962226" y="520510"/>
                  <a:pt x="5966568" y="504692"/>
                  <a:pt x="5987913" y="475621"/>
                </a:cubicBezTo>
                <a:cubicBezTo>
                  <a:pt x="5989378" y="473627"/>
                  <a:pt x="5990229" y="472690"/>
                  <a:pt x="5992209" y="472822"/>
                </a:cubicBezTo>
                <a:close/>
                <a:moveTo>
                  <a:pt x="5936176" y="459522"/>
                </a:moveTo>
                <a:cubicBezTo>
                  <a:pt x="5930898" y="459477"/>
                  <a:pt x="5921507" y="461929"/>
                  <a:pt x="5925281" y="467272"/>
                </a:cubicBezTo>
                <a:cubicBezTo>
                  <a:pt x="5930314" y="474624"/>
                  <a:pt x="5940261" y="462486"/>
                  <a:pt x="5939441" y="460385"/>
                </a:cubicBezTo>
                <a:cubicBezTo>
                  <a:pt x="5939237" y="459829"/>
                  <a:pt x="5937935" y="459537"/>
                  <a:pt x="5936176" y="459522"/>
                </a:cubicBezTo>
                <a:close/>
                <a:moveTo>
                  <a:pt x="5932776" y="444793"/>
                </a:moveTo>
                <a:cubicBezTo>
                  <a:pt x="5937135" y="443887"/>
                  <a:pt x="5942895" y="446986"/>
                  <a:pt x="5955654" y="454632"/>
                </a:cubicBezTo>
                <a:cubicBezTo>
                  <a:pt x="5976298" y="467174"/>
                  <a:pt x="5982633" y="464598"/>
                  <a:pt x="5975588" y="475729"/>
                </a:cubicBezTo>
                <a:cubicBezTo>
                  <a:pt x="5971246" y="482883"/>
                  <a:pt x="5956582" y="501869"/>
                  <a:pt x="5952951" y="525197"/>
                </a:cubicBezTo>
                <a:cubicBezTo>
                  <a:pt x="5948027" y="518635"/>
                  <a:pt x="5941336" y="502343"/>
                  <a:pt x="5935711" y="497883"/>
                </a:cubicBezTo>
                <a:cubicBezTo>
                  <a:pt x="5924689" y="489209"/>
                  <a:pt x="5915186" y="495889"/>
                  <a:pt x="5911081" y="490847"/>
                </a:cubicBezTo>
                <a:cubicBezTo>
                  <a:pt x="5906502" y="485340"/>
                  <a:pt x="5904627" y="484985"/>
                  <a:pt x="5908732" y="479716"/>
                </a:cubicBezTo>
                <a:cubicBezTo>
                  <a:pt x="5908732" y="479716"/>
                  <a:pt x="5913657" y="473272"/>
                  <a:pt x="5915531" y="470568"/>
                </a:cubicBezTo>
                <a:cubicBezTo>
                  <a:pt x="5917643" y="467756"/>
                  <a:pt x="5917061" y="462476"/>
                  <a:pt x="5917998" y="460256"/>
                </a:cubicBezTo>
                <a:cubicBezTo>
                  <a:pt x="5918817" y="458026"/>
                  <a:pt x="5923860" y="451346"/>
                  <a:pt x="5928675" y="447014"/>
                </a:cubicBezTo>
                <a:cubicBezTo>
                  <a:pt x="5930025" y="445842"/>
                  <a:pt x="5931323" y="445095"/>
                  <a:pt x="5932776" y="444793"/>
                </a:cubicBezTo>
                <a:close/>
                <a:moveTo>
                  <a:pt x="5904946" y="389214"/>
                </a:moveTo>
                <a:cubicBezTo>
                  <a:pt x="5903949" y="389420"/>
                  <a:pt x="5903216" y="391413"/>
                  <a:pt x="5903216" y="395691"/>
                </a:cubicBezTo>
                <a:cubicBezTo>
                  <a:pt x="5903216" y="417143"/>
                  <a:pt x="5912601" y="430031"/>
                  <a:pt x="5915887" y="433672"/>
                </a:cubicBezTo>
                <a:cubicBezTo>
                  <a:pt x="5919054" y="437303"/>
                  <a:pt x="5920574" y="440935"/>
                  <a:pt x="5918817" y="443047"/>
                </a:cubicBezTo>
                <a:cubicBezTo>
                  <a:pt x="5914130" y="448553"/>
                  <a:pt x="5909088" y="454651"/>
                  <a:pt x="5908969" y="457108"/>
                </a:cubicBezTo>
                <a:cubicBezTo>
                  <a:pt x="5908732" y="459802"/>
                  <a:pt x="5908969" y="461095"/>
                  <a:pt x="5907913" y="464144"/>
                </a:cubicBezTo>
                <a:cubicBezTo>
                  <a:pt x="5906858" y="467075"/>
                  <a:pt x="5903108" y="471407"/>
                  <a:pt x="5897128" y="478680"/>
                </a:cubicBezTo>
                <a:cubicBezTo>
                  <a:pt x="5893842" y="482903"/>
                  <a:pt x="5895954" y="487472"/>
                  <a:pt x="5898766" y="490521"/>
                </a:cubicBezTo>
                <a:cubicBezTo>
                  <a:pt x="5902052" y="494271"/>
                  <a:pt x="5904282" y="498613"/>
                  <a:pt x="5908387" y="500488"/>
                </a:cubicBezTo>
                <a:cubicBezTo>
                  <a:pt x="5912611" y="502363"/>
                  <a:pt x="5916360" y="501070"/>
                  <a:pt x="5921284" y="501899"/>
                </a:cubicBezTo>
                <a:cubicBezTo>
                  <a:pt x="5925972" y="502718"/>
                  <a:pt x="5931843" y="505530"/>
                  <a:pt x="5936530" y="513859"/>
                </a:cubicBezTo>
                <a:cubicBezTo>
                  <a:pt x="5943329" y="526046"/>
                  <a:pt x="5950602" y="545041"/>
                  <a:pt x="5963736" y="560741"/>
                </a:cubicBezTo>
                <a:cubicBezTo>
                  <a:pt x="5969598" y="567659"/>
                  <a:pt x="5969598" y="580438"/>
                  <a:pt x="5969598" y="584533"/>
                </a:cubicBezTo>
                <a:cubicBezTo>
                  <a:pt x="5969953" y="621340"/>
                  <a:pt x="5950720" y="656154"/>
                  <a:pt x="5938405" y="678307"/>
                </a:cubicBezTo>
                <a:cubicBezTo>
                  <a:pt x="5935475" y="683468"/>
                  <a:pt x="5936175" y="687800"/>
                  <a:pt x="5940043" y="687800"/>
                </a:cubicBezTo>
                <a:cubicBezTo>
                  <a:pt x="5944504" y="687800"/>
                  <a:pt x="5961151" y="687800"/>
                  <a:pt x="5963973" y="687800"/>
                </a:cubicBezTo>
                <a:cubicBezTo>
                  <a:pt x="5967022" y="687800"/>
                  <a:pt x="5968897" y="684514"/>
                  <a:pt x="5969134" y="681001"/>
                </a:cubicBezTo>
                <a:cubicBezTo>
                  <a:pt x="5971246" y="650875"/>
                  <a:pt x="5988248" y="595664"/>
                  <a:pt x="6001037" y="586289"/>
                </a:cubicBezTo>
                <a:cubicBezTo>
                  <a:pt x="6022500" y="599769"/>
                  <a:pt x="6043844" y="628603"/>
                  <a:pt x="6033404" y="679126"/>
                </a:cubicBezTo>
                <a:cubicBezTo>
                  <a:pt x="6032930" y="681939"/>
                  <a:pt x="6030355" y="688037"/>
                  <a:pt x="6036808" y="688037"/>
                </a:cubicBezTo>
                <a:cubicBezTo>
                  <a:pt x="6036808" y="688037"/>
                  <a:pt x="6054985" y="688037"/>
                  <a:pt x="6057334" y="688037"/>
                </a:cubicBezTo>
                <a:cubicBezTo>
                  <a:pt x="6060027" y="688037"/>
                  <a:pt x="6064369" y="686981"/>
                  <a:pt x="6064014" y="682057"/>
                </a:cubicBezTo>
                <a:cubicBezTo>
                  <a:pt x="6062958" y="662361"/>
                  <a:pt x="6046420" y="620758"/>
                  <a:pt x="6042088" y="596256"/>
                </a:cubicBezTo>
                <a:cubicBezTo>
                  <a:pt x="6039394" y="580783"/>
                  <a:pt x="6051709" y="553123"/>
                  <a:pt x="6098147" y="574339"/>
                </a:cubicBezTo>
                <a:cubicBezTo>
                  <a:pt x="6115978" y="558284"/>
                  <a:pt x="6139435" y="568014"/>
                  <a:pt x="6129340" y="598841"/>
                </a:cubicBezTo>
                <a:cubicBezTo>
                  <a:pt x="6119492" y="629550"/>
                  <a:pt x="6110926" y="643030"/>
                  <a:pt x="6077148" y="679136"/>
                </a:cubicBezTo>
                <a:cubicBezTo>
                  <a:pt x="6073398" y="683360"/>
                  <a:pt x="6073043" y="687810"/>
                  <a:pt x="6079260" y="687810"/>
                </a:cubicBezTo>
                <a:cubicBezTo>
                  <a:pt x="6082309" y="687810"/>
                  <a:pt x="6097792" y="687810"/>
                  <a:pt x="6100960" y="687810"/>
                </a:cubicBezTo>
                <a:cubicBezTo>
                  <a:pt x="6105647" y="687810"/>
                  <a:pt x="6107532" y="686399"/>
                  <a:pt x="6108933" y="682768"/>
                </a:cubicBezTo>
                <a:cubicBezTo>
                  <a:pt x="6110226" y="678900"/>
                  <a:pt x="6125708" y="629905"/>
                  <a:pt x="6156082" y="606933"/>
                </a:cubicBezTo>
                <a:cubicBezTo>
                  <a:pt x="6158430" y="605176"/>
                  <a:pt x="6160424" y="597321"/>
                  <a:pt x="6165111" y="579391"/>
                </a:cubicBezTo>
                <a:cubicBezTo>
                  <a:pt x="6179775" y="598733"/>
                  <a:pt x="6181768" y="633892"/>
                  <a:pt x="6156546" y="679255"/>
                </a:cubicBezTo>
                <a:cubicBezTo>
                  <a:pt x="6153970" y="684060"/>
                  <a:pt x="6155490" y="687692"/>
                  <a:pt x="6158657" y="687692"/>
                </a:cubicBezTo>
                <a:cubicBezTo>
                  <a:pt x="6160414" y="687692"/>
                  <a:pt x="6174140" y="687692"/>
                  <a:pt x="6178245" y="687692"/>
                </a:cubicBezTo>
                <a:cubicBezTo>
                  <a:pt x="6181877" y="687692"/>
                  <a:pt x="6182932" y="685699"/>
                  <a:pt x="6184344" y="680192"/>
                </a:cubicBezTo>
                <a:cubicBezTo>
                  <a:pt x="6186100" y="673393"/>
                  <a:pt x="6186692" y="670107"/>
                  <a:pt x="6189031" y="663664"/>
                </a:cubicBezTo>
                <a:cubicBezTo>
                  <a:pt x="6190442" y="659677"/>
                  <a:pt x="6191024" y="658976"/>
                  <a:pt x="6206744" y="659095"/>
                </a:cubicBezTo>
                <a:cubicBezTo>
                  <a:pt x="6211668" y="659095"/>
                  <a:pt x="6211322" y="656519"/>
                  <a:pt x="6211322" y="652296"/>
                </a:cubicBezTo>
                <a:cubicBezTo>
                  <a:pt x="6211549" y="591539"/>
                  <a:pt x="6211905" y="528009"/>
                  <a:pt x="6207326" y="506211"/>
                </a:cubicBezTo>
                <a:cubicBezTo>
                  <a:pt x="6200991" y="475621"/>
                  <a:pt x="6174367" y="474683"/>
                  <a:pt x="6160414" y="475739"/>
                </a:cubicBezTo>
                <a:cubicBezTo>
                  <a:pt x="6145868" y="476795"/>
                  <a:pt x="6118426" y="481127"/>
                  <a:pt x="6090164" y="481127"/>
                </a:cubicBezTo>
                <a:cubicBezTo>
                  <a:pt x="6052044" y="481127"/>
                  <a:pt x="6009119" y="470341"/>
                  <a:pt x="5976288" y="454987"/>
                </a:cubicBezTo>
                <a:cubicBezTo>
                  <a:pt x="5970545" y="452411"/>
                  <a:pt x="5973476" y="451237"/>
                  <a:pt x="5975933" y="449826"/>
                </a:cubicBezTo>
                <a:cubicBezTo>
                  <a:pt x="5988248" y="443027"/>
                  <a:pt x="5998915" y="436929"/>
                  <a:pt x="6005487" y="426153"/>
                </a:cubicBezTo>
                <a:cubicBezTo>
                  <a:pt x="6010530" y="417953"/>
                  <a:pt x="6008655" y="415367"/>
                  <a:pt x="6003139" y="419827"/>
                </a:cubicBezTo>
                <a:cubicBezTo>
                  <a:pt x="5988248" y="432251"/>
                  <a:pt x="5967012" y="439169"/>
                  <a:pt x="5943329" y="430613"/>
                </a:cubicBezTo>
                <a:cubicBezTo>
                  <a:pt x="5919518" y="422176"/>
                  <a:pt x="5910371" y="399204"/>
                  <a:pt x="5908259" y="393460"/>
                </a:cubicBezTo>
                <a:cubicBezTo>
                  <a:pt x="5907203" y="390589"/>
                  <a:pt x="5905942" y="389008"/>
                  <a:pt x="5904946" y="389214"/>
                </a:cubicBezTo>
                <a:close/>
                <a:moveTo>
                  <a:pt x="5966647" y="335358"/>
                </a:moveTo>
                <a:cubicBezTo>
                  <a:pt x="5984350" y="335358"/>
                  <a:pt x="5998540" y="349765"/>
                  <a:pt x="5998540" y="367330"/>
                </a:cubicBezTo>
                <a:cubicBezTo>
                  <a:pt x="5998540" y="385013"/>
                  <a:pt x="5984350" y="399302"/>
                  <a:pt x="5966647" y="399302"/>
                </a:cubicBezTo>
                <a:cubicBezTo>
                  <a:pt x="5948944" y="399302"/>
                  <a:pt x="5934517" y="385013"/>
                  <a:pt x="5934517" y="367330"/>
                </a:cubicBezTo>
                <a:cubicBezTo>
                  <a:pt x="5934517" y="349538"/>
                  <a:pt x="5948944" y="335358"/>
                  <a:pt x="5966647" y="335358"/>
                </a:cubicBezTo>
                <a:close/>
                <a:moveTo>
                  <a:pt x="5965246" y="324000"/>
                </a:moveTo>
                <a:cubicBezTo>
                  <a:pt x="5938514" y="324000"/>
                  <a:pt x="5917051" y="345788"/>
                  <a:pt x="5917051" y="372373"/>
                </a:cubicBezTo>
                <a:cubicBezTo>
                  <a:pt x="5917051" y="399194"/>
                  <a:pt x="5938741" y="420745"/>
                  <a:pt x="5965246" y="420745"/>
                </a:cubicBezTo>
                <a:cubicBezTo>
                  <a:pt x="5991978" y="420745"/>
                  <a:pt x="6013441" y="398957"/>
                  <a:pt x="6013441" y="372373"/>
                </a:cubicBezTo>
                <a:cubicBezTo>
                  <a:pt x="6013441" y="345552"/>
                  <a:pt x="5991978" y="324000"/>
                  <a:pt x="5965246" y="324000"/>
                </a:cubicBezTo>
                <a:close/>
                <a:moveTo>
                  <a:pt x="0" y="0"/>
                </a:moveTo>
                <a:lnTo>
                  <a:pt x="6730700" y="0"/>
                </a:lnTo>
                <a:lnTo>
                  <a:pt x="6730700" y="6210000"/>
                </a:lnTo>
                <a:lnTo>
                  <a:pt x="0" y="6210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2" name="Title 1"/>
          <p:cNvSpPr>
            <a:spLocks noGrp="1"/>
          </p:cNvSpPr>
          <p:nvPr>
            <p:ph type="ctrTitle" hasCustomPrompt="1"/>
          </p:nvPr>
        </p:nvSpPr>
        <p:spPr>
          <a:xfrm>
            <a:off x="646006" y="2163600"/>
            <a:ext cx="4165707" cy="2379600"/>
          </a:xfrm>
        </p:spPr>
        <p:txBody>
          <a:bodyPr anchor="ctr"/>
          <a:lstStyle>
            <a:lvl1pPr algn="l">
              <a:lnSpc>
                <a:spcPct val="100000"/>
              </a:lnSpc>
              <a:defRPr sz="4400">
                <a:solidFill>
                  <a:schemeClr val="tx2"/>
                </a:solidFill>
              </a:defRPr>
            </a:lvl1pPr>
          </a:lstStyle>
          <a:p>
            <a:r>
              <a:rPr lang="en-GB"/>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645650" y="5799507"/>
            <a:ext cx="1920000" cy="154800"/>
          </a:xfrm>
        </p:spPr>
        <p:txBody>
          <a:bodyPr anchor="b"/>
          <a:lstStyle>
            <a:lvl1pPr marL="0" indent="0">
              <a:buNone/>
              <a:defRPr sz="1000" b="1">
                <a:solidFill>
                  <a:schemeClr val="tx2"/>
                </a:solidFill>
              </a:defRPr>
            </a:lvl1pPr>
          </a:lstStyle>
          <a:p>
            <a:pPr lvl="0"/>
            <a:r>
              <a:rPr lang="en-GB"/>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645650" y="6055200"/>
            <a:ext cx="1920001" cy="154800"/>
          </a:xfrm>
        </p:spPr>
        <p:txBody>
          <a:bodyPr/>
          <a:lstStyle>
            <a:lvl1pPr>
              <a:defRPr sz="1000" b="1">
                <a:solidFill>
                  <a:schemeClr val="tx2"/>
                </a:solidFill>
              </a:defRPr>
            </a:lvl1pPr>
          </a:lstStyle>
          <a:p>
            <a:endParaRPr lang="en-GB"/>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4857131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42736660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4989570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339287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043912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3774231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8262551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2279413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23108616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4017394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188887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 Cov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D0A685-8E57-D8B8-FB8E-604F52D59FCA}"/>
              </a:ext>
            </a:extLst>
          </p:cNvPr>
          <p:cNvSpPr>
            <a:spLocks noGrp="1"/>
          </p:cNvSpPr>
          <p:nvPr>
            <p:ph type="pic" sz="quarter" idx="18" hasCustomPrompt="1"/>
          </p:nvPr>
        </p:nvSpPr>
        <p:spPr>
          <a:xfrm>
            <a:off x="5136000" y="323999"/>
            <a:ext cx="6730700" cy="2941488"/>
          </a:xfrm>
          <a:custGeom>
            <a:avLst/>
            <a:gdLst>
              <a:gd name="csX0" fmla="*/ 6217885 w 6730700"/>
              <a:gd name="csY0" fmla="*/ 721964 h 2941488"/>
              <a:gd name="csX1" fmla="*/ 6229568 w 6730700"/>
              <a:gd name="csY1" fmla="*/ 725951 h 2941488"/>
              <a:gd name="csX2" fmla="*/ 6229568 w 6730700"/>
              <a:gd name="csY2" fmla="*/ 769004 h 2941488"/>
              <a:gd name="csX3" fmla="*/ 6229450 w 6730700"/>
              <a:gd name="csY3" fmla="*/ 769004 h 2941488"/>
              <a:gd name="csX4" fmla="*/ 6218704 w 6730700"/>
              <a:gd name="csY4" fmla="*/ 773928 h 2941488"/>
              <a:gd name="csX5" fmla="*/ 6198494 w 6730700"/>
              <a:gd name="csY5" fmla="*/ 746950 h 2941488"/>
              <a:gd name="csX6" fmla="*/ 6217885 w 6730700"/>
              <a:gd name="csY6" fmla="*/ 721964 h 2941488"/>
              <a:gd name="csX7" fmla="*/ 6114913 w 6730700"/>
              <a:gd name="csY7" fmla="*/ 721224 h 2941488"/>
              <a:gd name="csX8" fmla="*/ 6125669 w 6730700"/>
              <a:gd name="csY8" fmla="*/ 725329 h 2941488"/>
              <a:gd name="csX9" fmla="*/ 6131402 w 6730700"/>
              <a:gd name="csY9" fmla="*/ 747749 h 2941488"/>
              <a:gd name="csX10" fmla="*/ 6125669 w 6730700"/>
              <a:gd name="csY10" fmla="*/ 770050 h 2941488"/>
              <a:gd name="csX11" fmla="*/ 6114913 w 6730700"/>
              <a:gd name="csY11" fmla="*/ 774037 h 2941488"/>
              <a:gd name="csX12" fmla="*/ 6104394 w 6730700"/>
              <a:gd name="csY12" fmla="*/ 770050 h 2941488"/>
              <a:gd name="csX13" fmla="*/ 6098660 w 6730700"/>
              <a:gd name="csY13" fmla="*/ 747749 h 2941488"/>
              <a:gd name="csX14" fmla="*/ 6104394 w 6730700"/>
              <a:gd name="csY14" fmla="*/ 725329 h 2941488"/>
              <a:gd name="csX15" fmla="*/ 6114913 w 6730700"/>
              <a:gd name="csY15" fmla="*/ 721224 h 2941488"/>
              <a:gd name="csX16" fmla="*/ 5965236 w 6730700"/>
              <a:gd name="csY16" fmla="*/ 721224 h 2941488"/>
              <a:gd name="csX17" fmla="*/ 5975805 w 6730700"/>
              <a:gd name="csY17" fmla="*/ 725329 h 2941488"/>
              <a:gd name="csX18" fmla="*/ 5981558 w 6730700"/>
              <a:gd name="csY18" fmla="*/ 747749 h 2941488"/>
              <a:gd name="csX19" fmla="*/ 5975805 w 6730700"/>
              <a:gd name="csY19" fmla="*/ 770050 h 2941488"/>
              <a:gd name="csX20" fmla="*/ 5965236 w 6730700"/>
              <a:gd name="csY20" fmla="*/ 774037 h 2941488"/>
              <a:gd name="csX21" fmla="*/ 5954431 w 6730700"/>
              <a:gd name="csY21" fmla="*/ 770050 h 2941488"/>
              <a:gd name="csX22" fmla="*/ 5948678 w 6730700"/>
              <a:gd name="csY22" fmla="*/ 747749 h 2941488"/>
              <a:gd name="csX23" fmla="*/ 5954431 w 6730700"/>
              <a:gd name="csY23" fmla="*/ 725329 h 2941488"/>
              <a:gd name="csX24" fmla="*/ 5965236 w 6730700"/>
              <a:gd name="csY24" fmla="*/ 721224 h 2941488"/>
              <a:gd name="csX25" fmla="*/ 5853216 w 6730700"/>
              <a:gd name="csY25" fmla="*/ 721224 h 2941488"/>
              <a:gd name="csX26" fmla="*/ 5863903 w 6730700"/>
              <a:gd name="csY26" fmla="*/ 725329 h 2941488"/>
              <a:gd name="csX27" fmla="*/ 5869655 w 6730700"/>
              <a:gd name="csY27" fmla="*/ 747749 h 2941488"/>
              <a:gd name="csX28" fmla="*/ 5863903 w 6730700"/>
              <a:gd name="csY28" fmla="*/ 770050 h 2941488"/>
              <a:gd name="csX29" fmla="*/ 5853216 w 6730700"/>
              <a:gd name="csY29" fmla="*/ 774037 h 2941488"/>
              <a:gd name="csX30" fmla="*/ 5842647 w 6730700"/>
              <a:gd name="csY30" fmla="*/ 770050 h 2941488"/>
              <a:gd name="csX31" fmla="*/ 5836894 w 6730700"/>
              <a:gd name="csY31" fmla="*/ 747749 h 2941488"/>
              <a:gd name="csX32" fmla="*/ 5842647 w 6730700"/>
              <a:gd name="csY32" fmla="*/ 725329 h 2941488"/>
              <a:gd name="csX33" fmla="*/ 5853216 w 6730700"/>
              <a:gd name="csY33" fmla="*/ 721224 h 2941488"/>
              <a:gd name="csX34" fmla="*/ 6256725 w 6730700"/>
              <a:gd name="csY34" fmla="*/ 715787 h 2941488"/>
              <a:gd name="csX35" fmla="*/ 6254633 w 6730700"/>
              <a:gd name="csY35" fmla="*/ 718007 h 2941488"/>
              <a:gd name="csX36" fmla="*/ 6254633 w 6730700"/>
              <a:gd name="csY36" fmla="*/ 777086 h 2941488"/>
              <a:gd name="csX37" fmla="*/ 6256498 w 6730700"/>
              <a:gd name="csY37" fmla="*/ 779306 h 2941488"/>
              <a:gd name="csX38" fmla="*/ 6263129 w 6730700"/>
              <a:gd name="csY38" fmla="*/ 779306 h 2941488"/>
              <a:gd name="csX39" fmla="*/ 6265448 w 6730700"/>
              <a:gd name="csY39" fmla="*/ 777086 h 2941488"/>
              <a:gd name="csX40" fmla="*/ 6265448 w 6730700"/>
              <a:gd name="csY40" fmla="*/ 718007 h 2941488"/>
              <a:gd name="csX41" fmla="*/ 6263119 w 6730700"/>
              <a:gd name="csY41" fmla="*/ 715787 h 2941488"/>
              <a:gd name="csX42" fmla="*/ 6256725 w 6730700"/>
              <a:gd name="csY42" fmla="*/ 715787 h 2941488"/>
              <a:gd name="csX43" fmla="*/ 6364502 w 6730700"/>
              <a:gd name="csY43" fmla="*/ 715481 h 2941488"/>
              <a:gd name="csX44" fmla="*/ 6360742 w 6730700"/>
              <a:gd name="csY44" fmla="*/ 717474 h 2941488"/>
              <a:gd name="csX45" fmla="*/ 6338994 w 6730700"/>
              <a:gd name="csY45" fmla="*/ 744769 h 2941488"/>
              <a:gd name="csX46" fmla="*/ 6338520 w 6730700"/>
              <a:gd name="csY46" fmla="*/ 745469 h 2941488"/>
              <a:gd name="csX47" fmla="*/ 6338638 w 6730700"/>
              <a:gd name="csY47" fmla="*/ 746170 h 2941488"/>
              <a:gd name="csX48" fmla="*/ 6360506 w 6730700"/>
              <a:gd name="csY48" fmla="*/ 777442 h 2941488"/>
              <a:gd name="csX49" fmla="*/ 6364147 w 6730700"/>
              <a:gd name="csY49" fmla="*/ 779316 h 2941488"/>
              <a:gd name="csX50" fmla="*/ 6372495 w 6730700"/>
              <a:gd name="csY50" fmla="*/ 779316 h 2941488"/>
              <a:gd name="csX51" fmla="*/ 6374252 w 6730700"/>
              <a:gd name="csY51" fmla="*/ 777787 h 2941488"/>
              <a:gd name="csX52" fmla="*/ 6373433 w 6730700"/>
              <a:gd name="csY52" fmla="*/ 776267 h 2941488"/>
              <a:gd name="csX53" fmla="*/ 6350154 w 6730700"/>
              <a:gd name="csY53" fmla="*/ 745460 h 2941488"/>
              <a:gd name="csX54" fmla="*/ 6349917 w 6730700"/>
              <a:gd name="csY54" fmla="*/ 745223 h 2941488"/>
              <a:gd name="csX55" fmla="*/ 6371903 w 6730700"/>
              <a:gd name="csY55" fmla="*/ 719339 h 2941488"/>
              <a:gd name="csX56" fmla="*/ 6372495 w 6730700"/>
              <a:gd name="csY56" fmla="*/ 716882 h 2941488"/>
              <a:gd name="csX57" fmla="*/ 6370265 w 6730700"/>
              <a:gd name="csY57" fmla="*/ 715481 h 2941488"/>
              <a:gd name="csX58" fmla="*/ 6364502 w 6730700"/>
              <a:gd name="csY58" fmla="*/ 715481 h 2941488"/>
              <a:gd name="csX59" fmla="*/ 5884467 w 6730700"/>
              <a:gd name="csY59" fmla="*/ 715481 h 2941488"/>
              <a:gd name="csX60" fmla="*/ 5882819 w 6730700"/>
              <a:gd name="csY60" fmla="*/ 717119 h 2941488"/>
              <a:gd name="csX61" fmla="*/ 5883293 w 6730700"/>
              <a:gd name="csY61" fmla="*/ 718875 h 2941488"/>
              <a:gd name="csX62" fmla="*/ 5905476 w 6730700"/>
              <a:gd name="csY62" fmla="*/ 777422 h 2941488"/>
              <a:gd name="csX63" fmla="*/ 5907469 w 6730700"/>
              <a:gd name="csY63" fmla="*/ 779297 h 2941488"/>
              <a:gd name="csX64" fmla="*/ 5912285 w 6730700"/>
              <a:gd name="csY64" fmla="*/ 779297 h 2941488"/>
              <a:gd name="csX65" fmla="*/ 5914515 w 6730700"/>
              <a:gd name="csY65" fmla="*/ 777422 h 2941488"/>
              <a:gd name="csX66" fmla="*/ 5936116 w 6730700"/>
              <a:gd name="csY66" fmla="*/ 718648 h 2941488"/>
              <a:gd name="csX67" fmla="*/ 5936353 w 6730700"/>
              <a:gd name="csY67" fmla="*/ 716774 h 2941488"/>
              <a:gd name="csX68" fmla="*/ 5934823 w 6730700"/>
              <a:gd name="csY68" fmla="*/ 715481 h 2941488"/>
              <a:gd name="csX69" fmla="*/ 5928715 w 6730700"/>
              <a:gd name="csY69" fmla="*/ 715481 h 2941488"/>
              <a:gd name="csX70" fmla="*/ 5927185 w 6730700"/>
              <a:gd name="csY70" fmla="*/ 717237 h 2941488"/>
              <a:gd name="csX71" fmla="*/ 5911219 w 6730700"/>
              <a:gd name="csY71" fmla="*/ 764169 h 2941488"/>
              <a:gd name="csX72" fmla="*/ 5894789 w 6730700"/>
              <a:gd name="csY72" fmla="*/ 717474 h 2941488"/>
              <a:gd name="csX73" fmla="*/ 5891977 w 6730700"/>
              <a:gd name="csY73" fmla="*/ 715481 h 2941488"/>
              <a:gd name="csX74" fmla="*/ 5884467 w 6730700"/>
              <a:gd name="csY74" fmla="*/ 715481 h 2941488"/>
              <a:gd name="csX75" fmla="*/ 6298387 w 6730700"/>
              <a:gd name="csY75" fmla="*/ 714415 h 2941488"/>
              <a:gd name="csX76" fmla="*/ 6277368 w 6730700"/>
              <a:gd name="csY76" fmla="*/ 731901 h 2941488"/>
              <a:gd name="csX77" fmla="*/ 6293927 w 6730700"/>
              <a:gd name="csY77" fmla="*/ 750917 h 2941488"/>
              <a:gd name="csX78" fmla="*/ 6307545 w 6730700"/>
              <a:gd name="csY78" fmla="*/ 763241 h 2941488"/>
              <a:gd name="csX79" fmla="*/ 6294983 w 6730700"/>
              <a:gd name="csY79" fmla="*/ 774037 h 2941488"/>
              <a:gd name="csX80" fmla="*/ 6279599 w 6730700"/>
              <a:gd name="csY80" fmla="*/ 767583 h 2941488"/>
              <a:gd name="csX81" fmla="*/ 6275020 w 6730700"/>
              <a:gd name="csY81" fmla="*/ 771688 h 2941488"/>
              <a:gd name="csX82" fmla="*/ 6294746 w 6730700"/>
              <a:gd name="csY82" fmla="*/ 781083 h 2941488"/>
              <a:gd name="csX83" fmla="*/ 6317294 w 6730700"/>
              <a:gd name="csY83" fmla="*/ 762067 h 2941488"/>
              <a:gd name="csX84" fmla="*/ 6287118 w 6730700"/>
              <a:gd name="csY84" fmla="*/ 730845 h 2941488"/>
              <a:gd name="csX85" fmla="*/ 6297686 w 6730700"/>
              <a:gd name="csY85" fmla="*/ 721451 h 2941488"/>
              <a:gd name="csX86" fmla="*/ 6310367 w 6730700"/>
              <a:gd name="csY86" fmla="*/ 726148 h 2941488"/>
              <a:gd name="csX87" fmla="*/ 6314945 w 6730700"/>
              <a:gd name="csY87" fmla="*/ 721806 h 2941488"/>
              <a:gd name="csX88" fmla="*/ 6298387 w 6730700"/>
              <a:gd name="csY88" fmla="*/ 714415 h 2941488"/>
              <a:gd name="csX89" fmla="*/ 6170380 w 6730700"/>
              <a:gd name="csY89" fmla="*/ 714060 h 2941488"/>
              <a:gd name="csX90" fmla="*/ 6156427 w 6730700"/>
              <a:gd name="csY90" fmla="*/ 715935 h 2941488"/>
              <a:gd name="csX91" fmla="*/ 6150684 w 6730700"/>
              <a:gd name="csY91" fmla="*/ 720958 h 2941488"/>
              <a:gd name="csX92" fmla="*/ 6150684 w 6730700"/>
              <a:gd name="csY92" fmla="*/ 776968 h 2941488"/>
              <a:gd name="csX93" fmla="*/ 6153151 w 6730700"/>
              <a:gd name="csY93" fmla="*/ 778951 h 2941488"/>
              <a:gd name="csX94" fmla="*/ 6159368 w 6730700"/>
              <a:gd name="csY94" fmla="*/ 778951 h 2941488"/>
              <a:gd name="csX95" fmla="*/ 6161598 w 6730700"/>
              <a:gd name="csY95" fmla="*/ 776968 h 2941488"/>
              <a:gd name="csX96" fmla="*/ 6161598 w 6730700"/>
              <a:gd name="csY96" fmla="*/ 725635 h 2941488"/>
              <a:gd name="csX97" fmla="*/ 6167815 w 6730700"/>
              <a:gd name="csY97" fmla="*/ 720139 h 2941488"/>
              <a:gd name="csX98" fmla="*/ 6181067 w 6730700"/>
              <a:gd name="csY98" fmla="*/ 725872 h 2941488"/>
              <a:gd name="csX99" fmla="*/ 6186445 w 6730700"/>
              <a:gd name="csY99" fmla="*/ 720494 h 2941488"/>
              <a:gd name="csX100" fmla="*/ 6170380 w 6730700"/>
              <a:gd name="csY100" fmla="*/ 714060 h 2941488"/>
              <a:gd name="csX101" fmla="*/ 6114923 w 6730700"/>
              <a:gd name="csY101" fmla="*/ 714060 h 2941488"/>
              <a:gd name="csX102" fmla="*/ 6099025 w 6730700"/>
              <a:gd name="csY102" fmla="*/ 718639 h 2941488"/>
              <a:gd name="csX103" fmla="*/ 6087332 w 6730700"/>
              <a:gd name="csY103" fmla="*/ 747749 h 2941488"/>
              <a:gd name="csX104" fmla="*/ 6099025 w 6730700"/>
              <a:gd name="csY104" fmla="*/ 776741 h 2941488"/>
              <a:gd name="csX105" fmla="*/ 6114923 w 6730700"/>
              <a:gd name="csY105" fmla="*/ 781201 h 2941488"/>
              <a:gd name="csX106" fmla="*/ 6130820 w 6730700"/>
              <a:gd name="csY106" fmla="*/ 776741 h 2941488"/>
              <a:gd name="csX107" fmla="*/ 6142632 w 6730700"/>
              <a:gd name="csY107" fmla="*/ 747749 h 2941488"/>
              <a:gd name="csX108" fmla="*/ 6130820 w 6730700"/>
              <a:gd name="csY108" fmla="*/ 718639 h 2941488"/>
              <a:gd name="csX109" fmla="*/ 6114923 w 6730700"/>
              <a:gd name="csY109" fmla="*/ 714060 h 2941488"/>
              <a:gd name="csX110" fmla="*/ 6053110 w 6730700"/>
              <a:gd name="csY110" fmla="*/ 714060 h 2941488"/>
              <a:gd name="csX111" fmla="*/ 6034085 w 6730700"/>
              <a:gd name="csY111" fmla="*/ 717109 h 2941488"/>
              <a:gd name="csX112" fmla="*/ 6028598 w 6730700"/>
              <a:gd name="csY112" fmla="*/ 722152 h 2941488"/>
              <a:gd name="csX113" fmla="*/ 6028598 w 6730700"/>
              <a:gd name="csY113" fmla="*/ 777066 h 2941488"/>
              <a:gd name="csX114" fmla="*/ 6030937 w 6730700"/>
              <a:gd name="csY114" fmla="*/ 779297 h 2941488"/>
              <a:gd name="csX115" fmla="*/ 6037006 w 6730700"/>
              <a:gd name="csY115" fmla="*/ 779297 h 2941488"/>
              <a:gd name="csX116" fmla="*/ 6039571 w 6730700"/>
              <a:gd name="csY116" fmla="*/ 776830 h 2941488"/>
              <a:gd name="csX117" fmla="*/ 6039571 w 6730700"/>
              <a:gd name="csY117" fmla="*/ 726257 h 2941488"/>
              <a:gd name="csX118" fmla="*/ 6052765 w 6730700"/>
              <a:gd name="csY118" fmla="*/ 720740 h 2941488"/>
              <a:gd name="csX119" fmla="*/ 6067004 w 6730700"/>
              <a:gd name="csY119" fmla="*/ 735759 h 2941488"/>
              <a:gd name="csX120" fmla="*/ 6067004 w 6730700"/>
              <a:gd name="csY120" fmla="*/ 776830 h 2941488"/>
              <a:gd name="csX121" fmla="*/ 6069807 w 6730700"/>
              <a:gd name="csY121" fmla="*/ 779297 h 2941488"/>
              <a:gd name="csX122" fmla="*/ 6076576 w 6730700"/>
              <a:gd name="csY122" fmla="*/ 779297 h 2941488"/>
              <a:gd name="csX123" fmla="*/ 6077740 w 6730700"/>
              <a:gd name="csY123" fmla="*/ 776840 h 2941488"/>
              <a:gd name="csX124" fmla="*/ 6077740 w 6730700"/>
              <a:gd name="csY124" fmla="*/ 734358 h 2941488"/>
              <a:gd name="csX125" fmla="*/ 6053110 w 6730700"/>
              <a:gd name="csY125" fmla="*/ 714060 h 2941488"/>
              <a:gd name="csX126" fmla="*/ 5965009 w 6730700"/>
              <a:gd name="csY126" fmla="*/ 714060 h 2941488"/>
              <a:gd name="csX127" fmla="*/ 5949043 w 6730700"/>
              <a:gd name="csY127" fmla="*/ 718639 h 2941488"/>
              <a:gd name="csX128" fmla="*/ 5937300 w 6730700"/>
              <a:gd name="csY128" fmla="*/ 747749 h 2941488"/>
              <a:gd name="csX129" fmla="*/ 5949043 w 6730700"/>
              <a:gd name="csY129" fmla="*/ 776741 h 2941488"/>
              <a:gd name="csX130" fmla="*/ 5965009 w 6730700"/>
              <a:gd name="csY130" fmla="*/ 781201 h 2941488"/>
              <a:gd name="csX131" fmla="*/ 5980976 w 6730700"/>
              <a:gd name="csY131" fmla="*/ 776741 h 2941488"/>
              <a:gd name="csX132" fmla="*/ 5992837 w 6730700"/>
              <a:gd name="csY132" fmla="*/ 747749 h 2941488"/>
              <a:gd name="csX133" fmla="*/ 5980976 w 6730700"/>
              <a:gd name="csY133" fmla="*/ 718639 h 2941488"/>
              <a:gd name="csX134" fmla="*/ 5965009 w 6730700"/>
              <a:gd name="csY134" fmla="*/ 714060 h 2941488"/>
              <a:gd name="csX135" fmla="*/ 5853225 w 6730700"/>
              <a:gd name="csY135" fmla="*/ 714060 h 2941488"/>
              <a:gd name="csX136" fmla="*/ 5837259 w 6730700"/>
              <a:gd name="csY136" fmla="*/ 718639 h 2941488"/>
              <a:gd name="csX137" fmla="*/ 5825398 w 6730700"/>
              <a:gd name="csY137" fmla="*/ 747749 h 2941488"/>
              <a:gd name="csX138" fmla="*/ 5837259 w 6730700"/>
              <a:gd name="csY138" fmla="*/ 776741 h 2941488"/>
              <a:gd name="csX139" fmla="*/ 5853225 w 6730700"/>
              <a:gd name="csY139" fmla="*/ 781201 h 2941488"/>
              <a:gd name="csX140" fmla="*/ 5869192 w 6730700"/>
              <a:gd name="csY140" fmla="*/ 776741 h 2941488"/>
              <a:gd name="csX141" fmla="*/ 5880935 w 6730700"/>
              <a:gd name="csY141" fmla="*/ 747749 h 2941488"/>
              <a:gd name="csX142" fmla="*/ 5869192 w 6730700"/>
              <a:gd name="csY142" fmla="*/ 718639 h 2941488"/>
              <a:gd name="csX143" fmla="*/ 5853225 w 6730700"/>
              <a:gd name="csY143" fmla="*/ 714060 h 2941488"/>
              <a:gd name="csX144" fmla="*/ 5791294 w 6730700"/>
              <a:gd name="csY144" fmla="*/ 714060 h 2941488"/>
              <a:gd name="csX145" fmla="*/ 5772180 w 6730700"/>
              <a:gd name="csY145" fmla="*/ 717109 h 2941488"/>
              <a:gd name="csX146" fmla="*/ 5766664 w 6730700"/>
              <a:gd name="csY146" fmla="*/ 722152 h 2941488"/>
              <a:gd name="csX147" fmla="*/ 5766664 w 6730700"/>
              <a:gd name="csY147" fmla="*/ 777066 h 2941488"/>
              <a:gd name="csX148" fmla="*/ 5768894 w 6730700"/>
              <a:gd name="csY148" fmla="*/ 779297 h 2941488"/>
              <a:gd name="csX149" fmla="*/ 5774993 w 6730700"/>
              <a:gd name="csY149" fmla="*/ 779297 h 2941488"/>
              <a:gd name="csX150" fmla="*/ 5777568 w 6730700"/>
              <a:gd name="csY150" fmla="*/ 776830 h 2941488"/>
              <a:gd name="csX151" fmla="*/ 5777568 w 6730700"/>
              <a:gd name="csY151" fmla="*/ 726257 h 2941488"/>
              <a:gd name="csX152" fmla="*/ 5790821 w 6730700"/>
              <a:gd name="csY152" fmla="*/ 720740 h 2941488"/>
              <a:gd name="csX153" fmla="*/ 5805129 w 6730700"/>
              <a:gd name="csY153" fmla="*/ 735759 h 2941488"/>
              <a:gd name="csX154" fmla="*/ 5805129 w 6730700"/>
              <a:gd name="csY154" fmla="*/ 776830 h 2941488"/>
              <a:gd name="csX155" fmla="*/ 5807942 w 6730700"/>
              <a:gd name="csY155" fmla="*/ 779297 h 2941488"/>
              <a:gd name="csX156" fmla="*/ 5814740 w 6730700"/>
              <a:gd name="csY156" fmla="*/ 779297 h 2941488"/>
              <a:gd name="csX157" fmla="*/ 5816043 w 6730700"/>
              <a:gd name="csY157" fmla="*/ 776840 h 2941488"/>
              <a:gd name="csX158" fmla="*/ 5816043 w 6730700"/>
              <a:gd name="csY158" fmla="*/ 734358 h 2941488"/>
              <a:gd name="csX159" fmla="*/ 5791294 w 6730700"/>
              <a:gd name="csY159" fmla="*/ 714060 h 2941488"/>
              <a:gd name="csX160" fmla="*/ 6231670 w 6730700"/>
              <a:gd name="csY160" fmla="*/ 692735 h 2941488"/>
              <a:gd name="csX161" fmla="*/ 6229450 w 6730700"/>
              <a:gd name="csY161" fmla="*/ 695548 h 2941488"/>
              <a:gd name="csX162" fmla="*/ 6229450 w 6730700"/>
              <a:gd name="csY162" fmla="*/ 717839 h 2941488"/>
              <a:gd name="csX163" fmla="*/ 6216128 w 6730700"/>
              <a:gd name="csY163" fmla="*/ 714435 h 2941488"/>
              <a:gd name="csX164" fmla="*/ 6187383 w 6730700"/>
              <a:gd name="csY164" fmla="*/ 747749 h 2941488"/>
              <a:gd name="csX165" fmla="*/ 6218348 w 6730700"/>
              <a:gd name="csY165" fmla="*/ 781181 h 2941488"/>
              <a:gd name="csX166" fmla="*/ 6240087 w 6730700"/>
              <a:gd name="csY166" fmla="*/ 772517 h 2941488"/>
              <a:gd name="csX167" fmla="*/ 6240087 w 6730700"/>
              <a:gd name="csY167" fmla="*/ 695202 h 2941488"/>
              <a:gd name="csX168" fmla="*/ 6237749 w 6730700"/>
              <a:gd name="csY168" fmla="*/ 692735 h 2941488"/>
              <a:gd name="csX169" fmla="*/ 6231670 w 6730700"/>
              <a:gd name="csY169" fmla="*/ 692735 h 2941488"/>
              <a:gd name="csX170" fmla="*/ 6328178 w 6730700"/>
              <a:gd name="csY170" fmla="*/ 692508 h 2941488"/>
              <a:gd name="csX171" fmla="*/ 6326175 w 6730700"/>
              <a:gd name="csY171" fmla="*/ 694502 h 2941488"/>
              <a:gd name="csX172" fmla="*/ 6326175 w 6730700"/>
              <a:gd name="csY172" fmla="*/ 777313 h 2941488"/>
              <a:gd name="csX173" fmla="*/ 6328178 w 6730700"/>
              <a:gd name="csY173" fmla="*/ 779188 h 2941488"/>
              <a:gd name="csX174" fmla="*/ 6334642 w 6730700"/>
              <a:gd name="csY174" fmla="*/ 779188 h 2941488"/>
              <a:gd name="csX175" fmla="*/ 6336872 w 6730700"/>
              <a:gd name="csY175" fmla="*/ 777431 h 2941488"/>
              <a:gd name="csX176" fmla="*/ 6336872 w 6730700"/>
              <a:gd name="csY176" fmla="*/ 694265 h 2941488"/>
              <a:gd name="csX177" fmla="*/ 6334642 w 6730700"/>
              <a:gd name="csY177" fmla="*/ 692508 h 2941488"/>
              <a:gd name="csX178" fmla="*/ 6328178 w 6730700"/>
              <a:gd name="csY178" fmla="*/ 692508 h 2941488"/>
              <a:gd name="csX179" fmla="*/ 6260336 w 6730700"/>
              <a:gd name="csY179" fmla="*/ 691798 h 2941488"/>
              <a:gd name="csX180" fmla="*/ 6253587 w 6730700"/>
              <a:gd name="csY180" fmla="*/ 698350 h 2941488"/>
              <a:gd name="csX181" fmla="*/ 6260100 w 6730700"/>
              <a:gd name="csY181" fmla="*/ 704784 h 2941488"/>
              <a:gd name="csX182" fmla="*/ 6266731 w 6730700"/>
              <a:gd name="csY182" fmla="*/ 697886 h 2941488"/>
              <a:gd name="csX183" fmla="*/ 6260336 w 6730700"/>
              <a:gd name="csY183" fmla="*/ 691798 h 2941488"/>
              <a:gd name="csX184" fmla="*/ 6390573 w 6730700"/>
              <a:gd name="csY184" fmla="*/ 682492 h 2941488"/>
              <a:gd name="csX185" fmla="*/ 6390813 w 6730700"/>
              <a:gd name="csY185" fmla="*/ 682669 h 2941488"/>
              <a:gd name="csX186" fmla="*/ 6390573 w 6730700"/>
              <a:gd name="csY186" fmla="*/ 682729 h 2941488"/>
              <a:gd name="csX187" fmla="*/ 6390573 w 6730700"/>
              <a:gd name="csY187" fmla="*/ 682492 h 2941488"/>
              <a:gd name="csX188" fmla="*/ 6383429 w 6730700"/>
              <a:gd name="csY188" fmla="*/ 673927 h 2941488"/>
              <a:gd name="csX189" fmla="*/ 6387287 w 6730700"/>
              <a:gd name="csY189" fmla="*/ 673927 h 2941488"/>
              <a:gd name="csX190" fmla="*/ 6392557 w 6730700"/>
              <a:gd name="csY190" fmla="*/ 677095 h 2941488"/>
              <a:gd name="csX191" fmla="*/ 6387642 w 6730700"/>
              <a:gd name="csY191" fmla="*/ 680262 h 2941488"/>
              <a:gd name="csX192" fmla="*/ 6383429 w 6730700"/>
              <a:gd name="csY192" fmla="*/ 680262 h 2941488"/>
              <a:gd name="csX193" fmla="*/ 6380153 w 6730700"/>
              <a:gd name="csY193" fmla="*/ 670986 h 2941488"/>
              <a:gd name="csX194" fmla="*/ 6380153 w 6730700"/>
              <a:gd name="csY194" fmla="*/ 692232 h 2941488"/>
              <a:gd name="csX195" fmla="*/ 6383666 w 6730700"/>
              <a:gd name="csY195" fmla="*/ 692232 h 2941488"/>
              <a:gd name="csX196" fmla="*/ 6383666 w 6730700"/>
              <a:gd name="csY196" fmla="*/ 683193 h 2941488"/>
              <a:gd name="csX197" fmla="*/ 6385659 w 6730700"/>
              <a:gd name="csY197" fmla="*/ 683193 h 2941488"/>
              <a:gd name="csX198" fmla="*/ 6391974 w 6730700"/>
              <a:gd name="csY198" fmla="*/ 688828 h 2941488"/>
              <a:gd name="csX199" fmla="*/ 6393849 w 6730700"/>
              <a:gd name="csY199" fmla="*/ 692114 h 2941488"/>
              <a:gd name="csX200" fmla="*/ 6397944 w 6730700"/>
              <a:gd name="csY200" fmla="*/ 692114 h 2941488"/>
              <a:gd name="csX201" fmla="*/ 6395369 w 6730700"/>
              <a:gd name="csY201" fmla="*/ 687890 h 2941488"/>
              <a:gd name="csX202" fmla="*/ 6392442 w 6730700"/>
              <a:gd name="csY202" fmla="*/ 683870 h 2941488"/>
              <a:gd name="csX203" fmla="*/ 6390813 w 6730700"/>
              <a:gd name="csY203" fmla="*/ 682669 h 2941488"/>
              <a:gd name="csX204" fmla="*/ 6393334 w 6730700"/>
              <a:gd name="csY204" fmla="*/ 682040 h 2941488"/>
              <a:gd name="csX205" fmla="*/ 6396543 w 6730700"/>
              <a:gd name="csY205" fmla="*/ 676739 h 2941488"/>
              <a:gd name="csX206" fmla="*/ 6394550 w 6730700"/>
              <a:gd name="csY206" fmla="*/ 672634 h 2941488"/>
              <a:gd name="csX207" fmla="*/ 6387642 w 6730700"/>
              <a:gd name="csY207" fmla="*/ 670986 h 2941488"/>
              <a:gd name="csX208" fmla="*/ 6380153 w 6730700"/>
              <a:gd name="csY208" fmla="*/ 670986 h 2941488"/>
              <a:gd name="csX209" fmla="*/ 6388462 w 6730700"/>
              <a:gd name="csY209" fmla="*/ 665125 h 2941488"/>
              <a:gd name="csX210" fmla="*/ 6404842 w 6730700"/>
              <a:gd name="csY210" fmla="*/ 681436 h 2941488"/>
              <a:gd name="csX211" fmla="*/ 6388462 w 6730700"/>
              <a:gd name="csY211" fmla="*/ 697985 h 2941488"/>
              <a:gd name="csX212" fmla="*/ 6372199 w 6730700"/>
              <a:gd name="csY212" fmla="*/ 681436 h 2941488"/>
              <a:gd name="csX213" fmla="*/ 6388462 w 6730700"/>
              <a:gd name="csY213" fmla="*/ 665125 h 2941488"/>
              <a:gd name="csX214" fmla="*/ 6388462 w 6730700"/>
              <a:gd name="csY214" fmla="*/ 661720 h 2941488"/>
              <a:gd name="csX215" fmla="*/ 6368923 w 6730700"/>
              <a:gd name="csY215" fmla="*/ 681436 h 2941488"/>
              <a:gd name="csX216" fmla="*/ 6388462 w 6730700"/>
              <a:gd name="csY216" fmla="*/ 701153 h 2941488"/>
              <a:gd name="csX217" fmla="*/ 6408000 w 6730700"/>
              <a:gd name="csY217" fmla="*/ 681436 h 2941488"/>
              <a:gd name="csX218" fmla="*/ 6388462 w 6730700"/>
              <a:gd name="csY218" fmla="*/ 661720 h 2941488"/>
              <a:gd name="csX219" fmla="*/ 6193357 w 6730700"/>
              <a:gd name="csY219" fmla="*/ 533825 h 2941488"/>
              <a:gd name="csX220" fmla="*/ 6195011 w 6730700"/>
              <a:gd name="csY220" fmla="*/ 534572 h 2941488"/>
              <a:gd name="csX221" fmla="*/ 6198178 w 6730700"/>
              <a:gd name="csY221" fmla="*/ 609944 h 2941488"/>
              <a:gd name="csX222" fmla="*/ 6194547 w 6730700"/>
              <a:gd name="csY222" fmla="*/ 609243 h 2941488"/>
              <a:gd name="csX223" fmla="*/ 6188685 w 6730700"/>
              <a:gd name="csY223" fmla="*/ 578297 h 2941488"/>
              <a:gd name="csX224" fmla="*/ 6192317 w 6730700"/>
              <a:gd name="csY224" fmla="*/ 534928 h 2941488"/>
              <a:gd name="csX225" fmla="*/ 6193357 w 6730700"/>
              <a:gd name="csY225" fmla="*/ 533825 h 2941488"/>
              <a:gd name="csX226" fmla="*/ 6057324 w 6730700"/>
              <a:gd name="csY226" fmla="*/ 488973 h 2941488"/>
              <a:gd name="csX227" fmla="*/ 6111627 w 6730700"/>
              <a:gd name="csY227" fmla="*/ 490848 h 2941488"/>
              <a:gd name="csX228" fmla="*/ 6110097 w 6730700"/>
              <a:gd name="csY228" fmla="*/ 520619 h 2941488"/>
              <a:gd name="csX229" fmla="*/ 6065415 w 6730700"/>
              <a:gd name="csY229" fmla="*/ 524724 h 2941488"/>
              <a:gd name="csX230" fmla="*/ 6059435 w 6730700"/>
              <a:gd name="csY230" fmla="*/ 517925 h 2941488"/>
              <a:gd name="csX231" fmla="*/ 6057324 w 6730700"/>
              <a:gd name="csY231" fmla="*/ 488973 h 2941488"/>
              <a:gd name="csX232" fmla="*/ 6152085 w 6730700"/>
              <a:gd name="csY232" fmla="*/ 486042 h 2941488"/>
              <a:gd name="csX233" fmla="*/ 6156072 w 6730700"/>
              <a:gd name="csY233" fmla="*/ 505502 h 2941488"/>
              <a:gd name="csX234" fmla="*/ 6146688 w 6730700"/>
              <a:gd name="csY234" fmla="*/ 512301 h 2941488"/>
              <a:gd name="csX235" fmla="*/ 6139060 w 6730700"/>
              <a:gd name="csY235" fmla="*/ 487799 h 2941488"/>
              <a:gd name="csX236" fmla="*/ 6152085 w 6730700"/>
              <a:gd name="csY236" fmla="*/ 486042 h 2941488"/>
              <a:gd name="csX237" fmla="*/ 6012296 w 6730700"/>
              <a:gd name="csY237" fmla="*/ 479253 h 2941488"/>
              <a:gd name="csX238" fmla="*/ 6029654 w 6730700"/>
              <a:gd name="csY238" fmla="*/ 483940 h 2941488"/>
              <a:gd name="csX239" fmla="*/ 6013707 w 6730700"/>
              <a:gd name="csY239" fmla="*/ 517935 h 2941488"/>
              <a:gd name="csX240" fmla="*/ 6006080 w 6730700"/>
              <a:gd name="csY240" fmla="*/ 511955 h 2941488"/>
              <a:gd name="csX241" fmla="*/ 6012296 w 6730700"/>
              <a:gd name="csY241" fmla="*/ 479253 h 2941488"/>
              <a:gd name="csX242" fmla="*/ 5992209 w 6730700"/>
              <a:gd name="csY242" fmla="*/ 472823 h 2941488"/>
              <a:gd name="csX243" fmla="*/ 6003277 w 6730700"/>
              <a:gd name="csY243" fmla="*/ 476440 h 2941488"/>
              <a:gd name="csX244" fmla="*/ 5995649 w 6730700"/>
              <a:gd name="csY244" fmla="*/ 516642 h 2941488"/>
              <a:gd name="csX245" fmla="*/ 6014763 w 6730700"/>
              <a:gd name="csY245" fmla="*/ 526609 h 2941488"/>
              <a:gd name="csX246" fmla="*/ 6038101 w 6730700"/>
              <a:gd name="csY246" fmla="*/ 485815 h 2941488"/>
              <a:gd name="csX247" fmla="*/ 6049123 w 6730700"/>
              <a:gd name="csY247" fmla="*/ 487808 h 2941488"/>
              <a:gd name="csX248" fmla="*/ 6052528 w 6730700"/>
              <a:gd name="csY248" fmla="*/ 526017 h 2941488"/>
              <a:gd name="csX249" fmla="*/ 6064488 w 6730700"/>
              <a:gd name="csY249" fmla="*/ 533517 h 2941488"/>
              <a:gd name="csX250" fmla="*/ 6117025 w 6730700"/>
              <a:gd name="csY250" fmla="*/ 526954 h 2941488"/>
              <a:gd name="csX251" fmla="*/ 6119955 w 6730700"/>
              <a:gd name="csY251" fmla="*/ 490147 h 2941488"/>
              <a:gd name="csX252" fmla="*/ 6130040 w 6730700"/>
              <a:gd name="csY252" fmla="*/ 488973 h 2941488"/>
              <a:gd name="csX253" fmla="*/ 6138487 w 6730700"/>
              <a:gd name="csY253" fmla="*/ 513120 h 2941488"/>
              <a:gd name="csX254" fmla="*/ 6156200 w 6730700"/>
              <a:gd name="csY254" fmla="*/ 516169 h 2941488"/>
              <a:gd name="csX255" fmla="*/ 6159832 w 6730700"/>
              <a:gd name="csY255" fmla="*/ 485105 h 2941488"/>
              <a:gd name="csX256" fmla="*/ 6180821 w 6730700"/>
              <a:gd name="csY256" fmla="*/ 517580 h 2941488"/>
              <a:gd name="csX257" fmla="*/ 6169098 w 6730700"/>
              <a:gd name="csY257" fmla="*/ 565992 h 2941488"/>
              <a:gd name="csX258" fmla="*/ 6100022 w 6730700"/>
              <a:gd name="csY258" fmla="*/ 550637 h 2941488"/>
              <a:gd name="csX259" fmla="*/ 6028835 w 6730700"/>
              <a:gd name="csY259" fmla="*/ 589083 h 2941488"/>
              <a:gd name="csX260" fmla="*/ 6025786 w 6730700"/>
              <a:gd name="csY260" fmla="*/ 589902 h 2941488"/>
              <a:gd name="csX261" fmla="*/ 5991189 w 6730700"/>
              <a:gd name="csY261" fmla="*/ 565054 h 2941488"/>
              <a:gd name="csX262" fmla="*/ 5964101 w 6730700"/>
              <a:gd name="csY262" fmla="*/ 532352 h 2941488"/>
              <a:gd name="csX263" fmla="*/ 5987913 w 6730700"/>
              <a:gd name="csY263" fmla="*/ 475622 h 2941488"/>
              <a:gd name="csX264" fmla="*/ 5992209 w 6730700"/>
              <a:gd name="csY264" fmla="*/ 472823 h 2941488"/>
              <a:gd name="csX265" fmla="*/ 5936176 w 6730700"/>
              <a:gd name="csY265" fmla="*/ 459523 h 2941488"/>
              <a:gd name="csX266" fmla="*/ 5925281 w 6730700"/>
              <a:gd name="csY266" fmla="*/ 467273 h 2941488"/>
              <a:gd name="csX267" fmla="*/ 5939441 w 6730700"/>
              <a:gd name="csY267" fmla="*/ 460386 h 2941488"/>
              <a:gd name="csX268" fmla="*/ 5936176 w 6730700"/>
              <a:gd name="csY268" fmla="*/ 459523 h 2941488"/>
              <a:gd name="csX269" fmla="*/ 5932776 w 6730700"/>
              <a:gd name="csY269" fmla="*/ 444794 h 2941488"/>
              <a:gd name="csX270" fmla="*/ 5955654 w 6730700"/>
              <a:gd name="csY270" fmla="*/ 454632 h 2941488"/>
              <a:gd name="csX271" fmla="*/ 5975588 w 6730700"/>
              <a:gd name="csY271" fmla="*/ 475730 h 2941488"/>
              <a:gd name="csX272" fmla="*/ 5952951 w 6730700"/>
              <a:gd name="csY272" fmla="*/ 525198 h 2941488"/>
              <a:gd name="csX273" fmla="*/ 5935711 w 6730700"/>
              <a:gd name="csY273" fmla="*/ 497884 h 2941488"/>
              <a:gd name="csX274" fmla="*/ 5911081 w 6730700"/>
              <a:gd name="csY274" fmla="*/ 490848 h 2941488"/>
              <a:gd name="csX275" fmla="*/ 5908732 w 6730700"/>
              <a:gd name="csY275" fmla="*/ 479717 h 2941488"/>
              <a:gd name="csX276" fmla="*/ 5915531 w 6730700"/>
              <a:gd name="csY276" fmla="*/ 470569 h 2941488"/>
              <a:gd name="csX277" fmla="*/ 5917998 w 6730700"/>
              <a:gd name="csY277" fmla="*/ 460257 h 2941488"/>
              <a:gd name="csX278" fmla="*/ 5928675 w 6730700"/>
              <a:gd name="csY278" fmla="*/ 447015 h 2941488"/>
              <a:gd name="csX279" fmla="*/ 5932776 w 6730700"/>
              <a:gd name="csY279" fmla="*/ 444794 h 2941488"/>
              <a:gd name="csX280" fmla="*/ 5904946 w 6730700"/>
              <a:gd name="csY280" fmla="*/ 389214 h 2941488"/>
              <a:gd name="csX281" fmla="*/ 5903216 w 6730700"/>
              <a:gd name="csY281" fmla="*/ 395691 h 2941488"/>
              <a:gd name="csX282" fmla="*/ 5915887 w 6730700"/>
              <a:gd name="csY282" fmla="*/ 433673 h 2941488"/>
              <a:gd name="csX283" fmla="*/ 5918817 w 6730700"/>
              <a:gd name="csY283" fmla="*/ 443048 h 2941488"/>
              <a:gd name="csX284" fmla="*/ 5908969 w 6730700"/>
              <a:gd name="csY284" fmla="*/ 457109 h 2941488"/>
              <a:gd name="csX285" fmla="*/ 5907913 w 6730700"/>
              <a:gd name="csY285" fmla="*/ 464145 h 2941488"/>
              <a:gd name="csX286" fmla="*/ 5897128 w 6730700"/>
              <a:gd name="csY286" fmla="*/ 478681 h 2941488"/>
              <a:gd name="csX287" fmla="*/ 5898766 w 6730700"/>
              <a:gd name="csY287" fmla="*/ 490522 h 2941488"/>
              <a:gd name="csX288" fmla="*/ 5908387 w 6730700"/>
              <a:gd name="csY288" fmla="*/ 500489 h 2941488"/>
              <a:gd name="csX289" fmla="*/ 5921284 w 6730700"/>
              <a:gd name="csY289" fmla="*/ 501900 h 2941488"/>
              <a:gd name="csX290" fmla="*/ 5936530 w 6730700"/>
              <a:gd name="csY290" fmla="*/ 513860 h 2941488"/>
              <a:gd name="csX291" fmla="*/ 5963736 w 6730700"/>
              <a:gd name="csY291" fmla="*/ 560742 h 2941488"/>
              <a:gd name="csX292" fmla="*/ 5969598 w 6730700"/>
              <a:gd name="csY292" fmla="*/ 584534 h 2941488"/>
              <a:gd name="csX293" fmla="*/ 5938405 w 6730700"/>
              <a:gd name="csY293" fmla="*/ 678308 h 2941488"/>
              <a:gd name="csX294" fmla="*/ 5940043 w 6730700"/>
              <a:gd name="csY294" fmla="*/ 687801 h 2941488"/>
              <a:gd name="csX295" fmla="*/ 5963973 w 6730700"/>
              <a:gd name="csY295" fmla="*/ 687801 h 2941488"/>
              <a:gd name="csX296" fmla="*/ 5969134 w 6730700"/>
              <a:gd name="csY296" fmla="*/ 681002 h 2941488"/>
              <a:gd name="csX297" fmla="*/ 6001037 w 6730700"/>
              <a:gd name="csY297" fmla="*/ 586290 h 2941488"/>
              <a:gd name="csX298" fmla="*/ 6033404 w 6730700"/>
              <a:gd name="csY298" fmla="*/ 679127 h 2941488"/>
              <a:gd name="csX299" fmla="*/ 6036808 w 6730700"/>
              <a:gd name="csY299" fmla="*/ 688038 h 2941488"/>
              <a:gd name="csX300" fmla="*/ 6057334 w 6730700"/>
              <a:gd name="csY300" fmla="*/ 688038 h 2941488"/>
              <a:gd name="csX301" fmla="*/ 6064014 w 6730700"/>
              <a:gd name="csY301" fmla="*/ 682058 h 2941488"/>
              <a:gd name="csX302" fmla="*/ 6042088 w 6730700"/>
              <a:gd name="csY302" fmla="*/ 596257 h 2941488"/>
              <a:gd name="csX303" fmla="*/ 6098147 w 6730700"/>
              <a:gd name="csY303" fmla="*/ 574340 h 2941488"/>
              <a:gd name="csX304" fmla="*/ 6129340 w 6730700"/>
              <a:gd name="csY304" fmla="*/ 598842 h 2941488"/>
              <a:gd name="csX305" fmla="*/ 6077148 w 6730700"/>
              <a:gd name="csY305" fmla="*/ 679137 h 2941488"/>
              <a:gd name="csX306" fmla="*/ 6079260 w 6730700"/>
              <a:gd name="csY306" fmla="*/ 687811 h 2941488"/>
              <a:gd name="csX307" fmla="*/ 6100960 w 6730700"/>
              <a:gd name="csY307" fmla="*/ 687811 h 2941488"/>
              <a:gd name="csX308" fmla="*/ 6108933 w 6730700"/>
              <a:gd name="csY308" fmla="*/ 682769 h 2941488"/>
              <a:gd name="csX309" fmla="*/ 6156082 w 6730700"/>
              <a:gd name="csY309" fmla="*/ 606934 h 2941488"/>
              <a:gd name="csX310" fmla="*/ 6165111 w 6730700"/>
              <a:gd name="csY310" fmla="*/ 579392 h 2941488"/>
              <a:gd name="csX311" fmla="*/ 6156546 w 6730700"/>
              <a:gd name="csY311" fmla="*/ 679256 h 2941488"/>
              <a:gd name="csX312" fmla="*/ 6158657 w 6730700"/>
              <a:gd name="csY312" fmla="*/ 687693 h 2941488"/>
              <a:gd name="csX313" fmla="*/ 6178245 w 6730700"/>
              <a:gd name="csY313" fmla="*/ 687693 h 2941488"/>
              <a:gd name="csX314" fmla="*/ 6184344 w 6730700"/>
              <a:gd name="csY314" fmla="*/ 680193 h 2941488"/>
              <a:gd name="csX315" fmla="*/ 6189031 w 6730700"/>
              <a:gd name="csY315" fmla="*/ 663664 h 2941488"/>
              <a:gd name="csX316" fmla="*/ 6206744 w 6730700"/>
              <a:gd name="csY316" fmla="*/ 659096 h 2941488"/>
              <a:gd name="csX317" fmla="*/ 6211322 w 6730700"/>
              <a:gd name="csY317" fmla="*/ 652297 h 2941488"/>
              <a:gd name="csX318" fmla="*/ 6207326 w 6730700"/>
              <a:gd name="csY318" fmla="*/ 506212 h 2941488"/>
              <a:gd name="csX319" fmla="*/ 6160414 w 6730700"/>
              <a:gd name="csY319" fmla="*/ 475740 h 2941488"/>
              <a:gd name="csX320" fmla="*/ 6090164 w 6730700"/>
              <a:gd name="csY320" fmla="*/ 481128 h 2941488"/>
              <a:gd name="csX321" fmla="*/ 5976288 w 6730700"/>
              <a:gd name="csY321" fmla="*/ 454988 h 2941488"/>
              <a:gd name="csX322" fmla="*/ 5975933 w 6730700"/>
              <a:gd name="csY322" fmla="*/ 449827 h 2941488"/>
              <a:gd name="csX323" fmla="*/ 6005487 w 6730700"/>
              <a:gd name="csY323" fmla="*/ 426154 h 2941488"/>
              <a:gd name="csX324" fmla="*/ 6003139 w 6730700"/>
              <a:gd name="csY324" fmla="*/ 419828 h 2941488"/>
              <a:gd name="csX325" fmla="*/ 5943329 w 6730700"/>
              <a:gd name="csY325" fmla="*/ 430614 h 2941488"/>
              <a:gd name="csX326" fmla="*/ 5908259 w 6730700"/>
              <a:gd name="csY326" fmla="*/ 393461 h 2941488"/>
              <a:gd name="csX327" fmla="*/ 5904946 w 6730700"/>
              <a:gd name="csY327" fmla="*/ 389214 h 2941488"/>
              <a:gd name="csX328" fmla="*/ 5966647 w 6730700"/>
              <a:gd name="csY328" fmla="*/ 335359 h 2941488"/>
              <a:gd name="csX329" fmla="*/ 5998540 w 6730700"/>
              <a:gd name="csY329" fmla="*/ 367331 h 2941488"/>
              <a:gd name="csX330" fmla="*/ 5966647 w 6730700"/>
              <a:gd name="csY330" fmla="*/ 399303 h 2941488"/>
              <a:gd name="csX331" fmla="*/ 5934517 w 6730700"/>
              <a:gd name="csY331" fmla="*/ 367331 h 2941488"/>
              <a:gd name="csX332" fmla="*/ 5966647 w 6730700"/>
              <a:gd name="csY332" fmla="*/ 335359 h 2941488"/>
              <a:gd name="csX333" fmla="*/ 5965246 w 6730700"/>
              <a:gd name="csY333" fmla="*/ 324001 h 2941488"/>
              <a:gd name="csX334" fmla="*/ 5917051 w 6730700"/>
              <a:gd name="csY334" fmla="*/ 372374 h 2941488"/>
              <a:gd name="csX335" fmla="*/ 5965246 w 6730700"/>
              <a:gd name="csY335" fmla="*/ 420746 h 2941488"/>
              <a:gd name="csX336" fmla="*/ 6013441 w 6730700"/>
              <a:gd name="csY336" fmla="*/ 372374 h 2941488"/>
              <a:gd name="csX337" fmla="*/ 5965246 w 6730700"/>
              <a:gd name="csY337" fmla="*/ 324001 h 2941488"/>
              <a:gd name="csX338" fmla="*/ 0 w 6730700"/>
              <a:gd name="csY338" fmla="*/ 0 h 2941488"/>
              <a:gd name="csX339" fmla="*/ 6730700 w 6730700"/>
              <a:gd name="csY339" fmla="*/ 0 h 2941488"/>
              <a:gd name="csX340" fmla="*/ 6730700 w 6730700"/>
              <a:gd name="csY340" fmla="*/ 2941488 h 2941488"/>
              <a:gd name="csX341" fmla="*/ 0 w 6730700"/>
              <a:gd name="csY341" fmla="*/ 2941488 h 29414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Lst>
            <a:rect l="l" t="t" r="r" b="b"/>
            <a:pathLst>
              <a:path w="6730700" h="2941488">
                <a:moveTo>
                  <a:pt x="6217885" y="721964"/>
                </a:moveTo>
                <a:cubicBezTo>
                  <a:pt x="6224190" y="721964"/>
                  <a:pt x="6227111" y="723957"/>
                  <a:pt x="6229568" y="725951"/>
                </a:cubicBezTo>
                <a:cubicBezTo>
                  <a:pt x="6229568" y="769004"/>
                  <a:pt x="6229568" y="769004"/>
                  <a:pt x="6229568" y="769004"/>
                </a:cubicBezTo>
                <a:lnTo>
                  <a:pt x="6229450" y="769004"/>
                </a:lnTo>
                <a:cubicBezTo>
                  <a:pt x="6229450" y="772172"/>
                  <a:pt x="6224190" y="773928"/>
                  <a:pt x="6218704" y="773928"/>
                </a:cubicBezTo>
                <a:cubicBezTo>
                  <a:pt x="6206902" y="773928"/>
                  <a:pt x="6198494" y="763952"/>
                  <a:pt x="6198494" y="746950"/>
                </a:cubicBezTo>
                <a:cubicBezTo>
                  <a:pt x="6198494" y="731931"/>
                  <a:pt x="6206675" y="721964"/>
                  <a:pt x="6217885" y="721964"/>
                </a:cubicBezTo>
                <a:close/>
                <a:moveTo>
                  <a:pt x="6114913" y="721224"/>
                </a:moveTo>
                <a:cubicBezTo>
                  <a:pt x="6119235" y="721224"/>
                  <a:pt x="6122393" y="722161"/>
                  <a:pt x="6125669" y="725329"/>
                </a:cubicBezTo>
                <a:cubicBezTo>
                  <a:pt x="6129182" y="728615"/>
                  <a:pt x="6131402" y="735898"/>
                  <a:pt x="6131402" y="747749"/>
                </a:cubicBezTo>
                <a:cubicBezTo>
                  <a:pt x="6131402" y="759255"/>
                  <a:pt x="6129182" y="766764"/>
                  <a:pt x="6125669" y="770050"/>
                </a:cubicBezTo>
                <a:cubicBezTo>
                  <a:pt x="6122393" y="773218"/>
                  <a:pt x="6119235" y="774037"/>
                  <a:pt x="6114913" y="774037"/>
                </a:cubicBezTo>
                <a:cubicBezTo>
                  <a:pt x="6110591" y="774037"/>
                  <a:pt x="6107660" y="773218"/>
                  <a:pt x="6104394" y="770050"/>
                </a:cubicBezTo>
                <a:cubicBezTo>
                  <a:pt x="6100999" y="766764"/>
                  <a:pt x="6098660" y="759482"/>
                  <a:pt x="6098660" y="747749"/>
                </a:cubicBezTo>
                <a:cubicBezTo>
                  <a:pt x="6098660" y="736125"/>
                  <a:pt x="6100999" y="728615"/>
                  <a:pt x="6104394" y="725329"/>
                </a:cubicBezTo>
                <a:cubicBezTo>
                  <a:pt x="6107670" y="722161"/>
                  <a:pt x="6110827" y="721224"/>
                  <a:pt x="6114913" y="721224"/>
                </a:cubicBezTo>
                <a:close/>
                <a:moveTo>
                  <a:pt x="5965236" y="721224"/>
                </a:moveTo>
                <a:cubicBezTo>
                  <a:pt x="5969588" y="721224"/>
                  <a:pt x="5972519" y="722161"/>
                  <a:pt x="5975805" y="725329"/>
                </a:cubicBezTo>
                <a:cubicBezTo>
                  <a:pt x="5979328" y="728615"/>
                  <a:pt x="5981558" y="735898"/>
                  <a:pt x="5981558" y="747749"/>
                </a:cubicBezTo>
                <a:cubicBezTo>
                  <a:pt x="5981558" y="759255"/>
                  <a:pt x="5979328" y="766764"/>
                  <a:pt x="5975805" y="770050"/>
                </a:cubicBezTo>
                <a:cubicBezTo>
                  <a:pt x="5972519" y="773218"/>
                  <a:pt x="5969351" y="774037"/>
                  <a:pt x="5965236" y="774037"/>
                </a:cubicBezTo>
                <a:cubicBezTo>
                  <a:pt x="5960894" y="774037"/>
                  <a:pt x="5957954" y="773218"/>
                  <a:pt x="5954431" y="770050"/>
                </a:cubicBezTo>
                <a:cubicBezTo>
                  <a:pt x="5951026" y="766764"/>
                  <a:pt x="5948678" y="759482"/>
                  <a:pt x="5948678" y="747749"/>
                </a:cubicBezTo>
                <a:cubicBezTo>
                  <a:pt x="5948678" y="736125"/>
                  <a:pt x="5951026" y="728615"/>
                  <a:pt x="5954431" y="725329"/>
                </a:cubicBezTo>
                <a:cubicBezTo>
                  <a:pt x="5957717" y="722161"/>
                  <a:pt x="5960884" y="721224"/>
                  <a:pt x="5965236" y="721224"/>
                </a:cubicBezTo>
                <a:close/>
                <a:moveTo>
                  <a:pt x="5853216" y="721224"/>
                </a:moveTo>
                <a:cubicBezTo>
                  <a:pt x="5857557" y="721224"/>
                  <a:pt x="5860498" y="722161"/>
                  <a:pt x="5863903" y="725329"/>
                </a:cubicBezTo>
                <a:cubicBezTo>
                  <a:pt x="5867317" y="728615"/>
                  <a:pt x="5869655" y="735898"/>
                  <a:pt x="5869655" y="747749"/>
                </a:cubicBezTo>
                <a:cubicBezTo>
                  <a:pt x="5869655" y="759255"/>
                  <a:pt x="5867425" y="766764"/>
                  <a:pt x="5863903" y="770050"/>
                </a:cubicBezTo>
                <a:cubicBezTo>
                  <a:pt x="5860616" y="773218"/>
                  <a:pt x="5857557" y="774037"/>
                  <a:pt x="5853216" y="774037"/>
                </a:cubicBezTo>
                <a:cubicBezTo>
                  <a:pt x="5848874" y="774037"/>
                  <a:pt x="5845933" y="773218"/>
                  <a:pt x="5842647" y="770050"/>
                </a:cubicBezTo>
                <a:cubicBezTo>
                  <a:pt x="5839124" y="766764"/>
                  <a:pt x="5836894" y="759482"/>
                  <a:pt x="5836894" y="747749"/>
                </a:cubicBezTo>
                <a:cubicBezTo>
                  <a:pt x="5836894" y="736125"/>
                  <a:pt x="5839124" y="728615"/>
                  <a:pt x="5842647" y="725329"/>
                </a:cubicBezTo>
                <a:cubicBezTo>
                  <a:pt x="5845933" y="722161"/>
                  <a:pt x="5848992" y="721224"/>
                  <a:pt x="5853216" y="721224"/>
                </a:cubicBezTo>
                <a:close/>
                <a:moveTo>
                  <a:pt x="6256725" y="715787"/>
                </a:moveTo>
                <a:cubicBezTo>
                  <a:pt x="6254633" y="715787"/>
                  <a:pt x="6254633" y="716487"/>
                  <a:pt x="6254633" y="718007"/>
                </a:cubicBezTo>
                <a:cubicBezTo>
                  <a:pt x="6254633" y="777086"/>
                  <a:pt x="6254633" y="777086"/>
                  <a:pt x="6254633" y="777086"/>
                </a:cubicBezTo>
                <a:cubicBezTo>
                  <a:pt x="6254633" y="778843"/>
                  <a:pt x="6254633" y="779306"/>
                  <a:pt x="6256498" y="779306"/>
                </a:cubicBezTo>
                <a:cubicBezTo>
                  <a:pt x="6263129" y="779306"/>
                  <a:pt x="6263129" y="779306"/>
                  <a:pt x="6263129" y="779306"/>
                </a:cubicBezTo>
                <a:cubicBezTo>
                  <a:pt x="6264984" y="779188"/>
                  <a:pt x="6265448" y="779188"/>
                  <a:pt x="6265448" y="777086"/>
                </a:cubicBezTo>
                <a:cubicBezTo>
                  <a:pt x="6265448" y="718007"/>
                  <a:pt x="6265448" y="718007"/>
                  <a:pt x="6265448" y="718007"/>
                </a:cubicBezTo>
                <a:cubicBezTo>
                  <a:pt x="6265448" y="716132"/>
                  <a:pt x="6264984" y="715787"/>
                  <a:pt x="6263119" y="715787"/>
                </a:cubicBezTo>
                <a:cubicBezTo>
                  <a:pt x="6256725" y="715787"/>
                  <a:pt x="6256725" y="715787"/>
                  <a:pt x="6256725" y="715787"/>
                </a:cubicBezTo>
                <a:close/>
                <a:moveTo>
                  <a:pt x="6364502" y="715481"/>
                </a:moveTo>
                <a:cubicBezTo>
                  <a:pt x="6362272" y="715481"/>
                  <a:pt x="6361443" y="715362"/>
                  <a:pt x="6360742" y="717474"/>
                </a:cubicBezTo>
                <a:cubicBezTo>
                  <a:pt x="6357220" y="728013"/>
                  <a:pt x="6348161" y="739381"/>
                  <a:pt x="6338994" y="744769"/>
                </a:cubicBezTo>
                <a:cubicBezTo>
                  <a:pt x="6338638" y="745124"/>
                  <a:pt x="6338520" y="745469"/>
                  <a:pt x="6338520" y="745469"/>
                </a:cubicBezTo>
                <a:cubicBezTo>
                  <a:pt x="6338520" y="745588"/>
                  <a:pt x="6338638" y="745933"/>
                  <a:pt x="6338638" y="746170"/>
                </a:cubicBezTo>
                <a:cubicBezTo>
                  <a:pt x="6360506" y="777442"/>
                  <a:pt x="6360506" y="777442"/>
                  <a:pt x="6360506" y="777442"/>
                </a:cubicBezTo>
                <a:cubicBezTo>
                  <a:pt x="6361798" y="779316"/>
                  <a:pt x="6362272" y="779316"/>
                  <a:pt x="6364147" y="779316"/>
                </a:cubicBezTo>
                <a:cubicBezTo>
                  <a:pt x="6372495" y="779316"/>
                  <a:pt x="6372495" y="779316"/>
                  <a:pt x="6372495" y="779316"/>
                </a:cubicBezTo>
                <a:cubicBezTo>
                  <a:pt x="6373077" y="779188"/>
                  <a:pt x="6374252" y="779188"/>
                  <a:pt x="6374252" y="777787"/>
                </a:cubicBezTo>
                <a:cubicBezTo>
                  <a:pt x="6374252" y="777323"/>
                  <a:pt x="6373896" y="776731"/>
                  <a:pt x="6373433" y="776267"/>
                </a:cubicBezTo>
                <a:cubicBezTo>
                  <a:pt x="6350154" y="745460"/>
                  <a:pt x="6350154" y="745460"/>
                  <a:pt x="6350154" y="745460"/>
                </a:cubicBezTo>
                <a:cubicBezTo>
                  <a:pt x="6349917" y="745223"/>
                  <a:pt x="6349917" y="745223"/>
                  <a:pt x="6349917" y="745223"/>
                </a:cubicBezTo>
                <a:cubicBezTo>
                  <a:pt x="6358147" y="739134"/>
                  <a:pt x="6366614" y="729641"/>
                  <a:pt x="6371903" y="719339"/>
                </a:cubicBezTo>
                <a:cubicBezTo>
                  <a:pt x="6372377" y="718165"/>
                  <a:pt x="6372495" y="717583"/>
                  <a:pt x="6372495" y="716882"/>
                </a:cubicBezTo>
                <a:cubicBezTo>
                  <a:pt x="6372495" y="715826"/>
                  <a:pt x="6371903" y="715481"/>
                  <a:pt x="6370265" y="715481"/>
                </a:cubicBezTo>
                <a:cubicBezTo>
                  <a:pt x="6364502" y="715481"/>
                  <a:pt x="6364502" y="715481"/>
                  <a:pt x="6364502" y="715481"/>
                </a:cubicBezTo>
                <a:close/>
                <a:moveTo>
                  <a:pt x="5884467" y="715481"/>
                </a:moveTo>
                <a:cubicBezTo>
                  <a:pt x="5883994" y="715481"/>
                  <a:pt x="5882819" y="715481"/>
                  <a:pt x="5882819" y="717119"/>
                </a:cubicBezTo>
                <a:cubicBezTo>
                  <a:pt x="5882819" y="717593"/>
                  <a:pt x="5882938" y="718175"/>
                  <a:pt x="5883293" y="718875"/>
                </a:cubicBezTo>
                <a:cubicBezTo>
                  <a:pt x="5905476" y="777422"/>
                  <a:pt x="5905476" y="777422"/>
                  <a:pt x="5905476" y="777422"/>
                </a:cubicBezTo>
                <a:cubicBezTo>
                  <a:pt x="5906177" y="778833"/>
                  <a:pt x="5906413" y="779297"/>
                  <a:pt x="5907469" y="779297"/>
                </a:cubicBezTo>
                <a:cubicBezTo>
                  <a:pt x="5912285" y="779297"/>
                  <a:pt x="5912285" y="779297"/>
                  <a:pt x="5912285" y="779297"/>
                </a:cubicBezTo>
                <a:cubicBezTo>
                  <a:pt x="5913696" y="779297"/>
                  <a:pt x="5914041" y="779060"/>
                  <a:pt x="5914515" y="777422"/>
                </a:cubicBezTo>
                <a:cubicBezTo>
                  <a:pt x="5936116" y="718648"/>
                  <a:pt x="5936116" y="718648"/>
                  <a:pt x="5936116" y="718648"/>
                </a:cubicBezTo>
                <a:cubicBezTo>
                  <a:pt x="5936353" y="717237"/>
                  <a:pt x="5936353" y="717119"/>
                  <a:pt x="5936353" y="716774"/>
                </a:cubicBezTo>
                <a:cubicBezTo>
                  <a:pt x="5936353" y="715481"/>
                  <a:pt x="5935415" y="715481"/>
                  <a:pt x="5934823" y="715481"/>
                </a:cubicBezTo>
                <a:cubicBezTo>
                  <a:pt x="5928715" y="715481"/>
                  <a:pt x="5928715" y="715481"/>
                  <a:pt x="5928715" y="715481"/>
                </a:cubicBezTo>
                <a:cubicBezTo>
                  <a:pt x="5927896" y="715718"/>
                  <a:pt x="5927777" y="716063"/>
                  <a:pt x="5927185" y="717237"/>
                </a:cubicBezTo>
                <a:cubicBezTo>
                  <a:pt x="5911219" y="764169"/>
                  <a:pt x="5911219" y="764169"/>
                  <a:pt x="5911219" y="764169"/>
                </a:cubicBezTo>
                <a:cubicBezTo>
                  <a:pt x="5894789" y="717474"/>
                  <a:pt x="5894789" y="717474"/>
                  <a:pt x="5894789" y="717474"/>
                </a:cubicBezTo>
                <a:cubicBezTo>
                  <a:pt x="5894088" y="715718"/>
                  <a:pt x="5893852" y="715481"/>
                  <a:pt x="5891977" y="715481"/>
                </a:cubicBezTo>
                <a:cubicBezTo>
                  <a:pt x="5884467" y="715481"/>
                  <a:pt x="5884467" y="715481"/>
                  <a:pt x="5884467" y="715481"/>
                </a:cubicBezTo>
                <a:close/>
                <a:moveTo>
                  <a:pt x="6298387" y="714415"/>
                </a:moveTo>
                <a:cubicBezTo>
                  <a:pt x="6287345" y="714415"/>
                  <a:pt x="6277368" y="720523"/>
                  <a:pt x="6277368" y="731901"/>
                </a:cubicBezTo>
                <a:cubicBezTo>
                  <a:pt x="6277368" y="742578"/>
                  <a:pt x="6284888" y="747038"/>
                  <a:pt x="6293927" y="750917"/>
                </a:cubicBezTo>
                <a:cubicBezTo>
                  <a:pt x="6300972" y="753847"/>
                  <a:pt x="6307545" y="756669"/>
                  <a:pt x="6307545" y="763241"/>
                </a:cubicBezTo>
                <a:cubicBezTo>
                  <a:pt x="6307545" y="768284"/>
                  <a:pt x="6303548" y="774037"/>
                  <a:pt x="6294983" y="774037"/>
                </a:cubicBezTo>
                <a:cubicBezTo>
                  <a:pt x="6286289" y="774037"/>
                  <a:pt x="6283832" y="767583"/>
                  <a:pt x="6279599" y="767583"/>
                </a:cubicBezTo>
                <a:cubicBezTo>
                  <a:pt x="6277605" y="767583"/>
                  <a:pt x="6275020" y="768521"/>
                  <a:pt x="6275020" y="771688"/>
                </a:cubicBezTo>
                <a:cubicBezTo>
                  <a:pt x="6275020" y="776731"/>
                  <a:pt x="6284888" y="781083"/>
                  <a:pt x="6294746" y="781083"/>
                </a:cubicBezTo>
                <a:cubicBezTo>
                  <a:pt x="6305897" y="781201"/>
                  <a:pt x="6317294" y="775330"/>
                  <a:pt x="6317294" y="762067"/>
                </a:cubicBezTo>
                <a:cubicBezTo>
                  <a:pt x="6317294" y="741295"/>
                  <a:pt x="6287118" y="744581"/>
                  <a:pt x="6287118" y="730845"/>
                </a:cubicBezTo>
                <a:cubicBezTo>
                  <a:pt x="6287118" y="726148"/>
                  <a:pt x="6290759" y="721451"/>
                  <a:pt x="6297686" y="721451"/>
                </a:cubicBezTo>
                <a:cubicBezTo>
                  <a:pt x="6304851" y="721451"/>
                  <a:pt x="6306725" y="726148"/>
                  <a:pt x="6310367" y="726148"/>
                </a:cubicBezTo>
                <a:cubicBezTo>
                  <a:pt x="6312242" y="726148"/>
                  <a:pt x="6314945" y="725092"/>
                  <a:pt x="6314945" y="721806"/>
                </a:cubicBezTo>
                <a:cubicBezTo>
                  <a:pt x="6314945" y="717109"/>
                  <a:pt x="6306962" y="714415"/>
                  <a:pt x="6298387" y="714415"/>
                </a:cubicBezTo>
                <a:close/>
                <a:moveTo>
                  <a:pt x="6170380" y="714060"/>
                </a:moveTo>
                <a:cubicBezTo>
                  <a:pt x="6163818" y="714060"/>
                  <a:pt x="6159713" y="715116"/>
                  <a:pt x="6156427" y="715935"/>
                </a:cubicBezTo>
                <a:cubicBezTo>
                  <a:pt x="6152204" y="716991"/>
                  <a:pt x="6150684" y="718974"/>
                  <a:pt x="6150684" y="720958"/>
                </a:cubicBezTo>
                <a:cubicBezTo>
                  <a:pt x="6150684" y="776968"/>
                  <a:pt x="6150684" y="776968"/>
                  <a:pt x="6150684" y="776968"/>
                </a:cubicBezTo>
                <a:cubicBezTo>
                  <a:pt x="6150684" y="778843"/>
                  <a:pt x="6151385" y="778951"/>
                  <a:pt x="6153151" y="778951"/>
                </a:cubicBezTo>
                <a:cubicBezTo>
                  <a:pt x="6159368" y="778951"/>
                  <a:pt x="6159368" y="778951"/>
                  <a:pt x="6159368" y="778951"/>
                </a:cubicBezTo>
                <a:cubicBezTo>
                  <a:pt x="6160887" y="778951"/>
                  <a:pt x="6161598" y="778833"/>
                  <a:pt x="6161598" y="776968"/>
                </a:cubicBezTo>
                <a:cubicBezTo>
                  <a:pt x="6161598" y="725635"/>
                  <a:pt x="6161598" y="725635"/>
                  <a:pt x="6161598" y="725635"/>
                </a:cubicBezTo>
                <a:cubicBezTo>
                  <a:pt x="6161598" y="722359"/>
                  <a:pt x="6164173" y="720139"/>
                  <a:pt x="6167815" y="720139"/>
                </a:cubicBezTo>
                <a:cubicBezTo>
                  <a:pt x="6175670" y="720139"/>
                  <a:pt x="6176844" y="725872"/>
                  <a:pt x="6181067" y="725872"/>
                </a:cubicBezTo>
                <a:cubicBezTo>
                  <a:pt x="6184097" y="725990"/>
                  <a:pt x="6186445" y="724115"/>
                  <a:pt x="6186445" y="720494"/>
                </a:cubicBezTo>
                <a:cubicBezTo>
                  <a:pt x="6186445" y="715935"/>
                  <a:pt x="6178946" y="714060"/>
                  <a:pt x="6170380" y="714060"/>
                </a:cubicBezTo>
                <a:close/>
                <a:moveTo>
                  <a:pt x="6114923" y="714060"/>
                </a:moveTo>
                <a:cubicBezTo>
                  <a:pt x="6109426" y="714060"/>
                  <a:pt x="6103584" y="715708"/>
                  <a:pt x="6099025" y="718639"/>
                </a:cubicBezTo>
                <a:cubicBezTo>
                  <a:pt x="6092009" y="723573"/>
                  <a:pt x="6087332" y="732957"/>
                  <a:pt x="6087332" y="747749"/>
                </a:cubicBezTo>
                <a:cubicBezTo>
                  <a:pt x="6087332" y="762422"/>
                  <a:pt x="6092009" y="771817"/>
                  <a:pt x="6099025" y="776741"/>
                </a:cubicBezTo>
                <a:cubicBezTo>
                  <a:pt x="6103348" y="779790"/>
                  <a:pt x="6109318" y="781201"/>
                  <a:pt x="6114923" y="781201"/>
                </a:cubicBezTo>
                <a:cubicBezTo>
                  <a:pt x="6120656" y="781201"/>
                  <a:pt x="6126498" y="779672"/>
                  <a:pt x="6130820" y="776741"/>
                </a:cubicBezTo>
                <a:cubicBezTo>
                  <a:pt x="6137954" y="771807"/>
                  <a:pt x="6142632" y="762422"/>
                  <a:pt x="6142632" y="747749"/>
                </a:cubicBezTo>
                <a:cubicBezTo>
                  <a:pt x="6142632" y="732957"/>
                  <a:pt x="6137954" y="723573"/>
                  <a:pt x="6130820" y="718639"/>
                </a:cubicBezTo>
                <a:cubicBezTo>
                  <a:pt x="6126379" y="715471"/>
                  <a:pt x="6120528" y="714060"/>
                  <a:pt x="6114923" y="714060"/>
                </a:cubicBezTo>
                <a:close/>
                <a:moveTo>
                  <a:pt x="6053110" y="714060"/>
                </a:moveTo>
                <a:cubicBezTo>
                  <a:pt x="6043775" y="714060"/>
                  <a:pt x="6037469" y="716053"/>
                  <a:pt x="6034085" y="717109"/>
                </a:cubicBezTo>
                <a:cubicBezTo>
                  <a:pt x="6029881" y="718520"/>
                  <a:pt x="6028598" y="720040"/>
                  <a:pt x="6028598" y="722152"/>
                </a:cubicBezTo>
                <a:cubicBezTo>
                  <a:pt x="6028598" y="777066"/>
                  <a:pt x="6028598" y="777066"/>
                  <a:pt x="6028598" y="777066"/>
                </a:cubicBezTo>
                <a:cubicBezTo>
                  <a:pt x="6028598" y="779060"/>
                  <a:pt x="6029062" y="779297"/>
                  <a:pt x="6030937" y="779297"/>
                </a:cubicBezTo>
                <a:cubicBezTo>
                  <a:pt x="6037006" y="779297"/>
                  <a:pt x="6037006" y="779297"/>
                  <a:pt x="6037006" y="779297"/>
                </a:cubicBezTo>
                <a:cubicBezTo>
                  <a:pt x="6038752" y="779297"/>
                  <a:pt x="6039571" y="779060"/>
                  <a:pt x="6039571" y="776830"/>
                </a:cubicBezTo>
                <a:cubicBezTo>
                  <a:pt x="6039571" y="726257"/>
                  <a:pt x="6039571" y="726257"/>
                  <a:pt x="6039571" y="726257"/>
                </a:cubicBezTo>
                <a:cubicBezTo>
                  <a:pt x="6039571" y="723553"/>
                  <a:pt x="6044239" y="720740"/>
                  <a:pt x="6052765" y="720740"/>
                </a:cubicBezTo>
                <a:cubicBezTo>
                  <a:pt x="6067004" y="720740"/>
                  <a:pt x="6067004" y="730006"/>
                  <a:pt x="6067004" y="735759"/>
                </a:cubicBezTo>
                <a:cubicBezTo>
                  <a:pt x="6067004" y="776830"/>
                  <a:pt x="6067004" y="776830"/>
                  <a:pt x="6067004" y="776830"/>
                </a:cubicBezTo>
                <a:cubicBezTo>
                  <a:pt x="6067004" y="779060"/>
                  <a:pt x="6067705" y="779297"/>
                  <a:pt x="6069807" y="779297"/>
                </a:cubicBezTo>
                <a:cubicBezTo>
                  <a:pt x="6076576" y="779297"/>
                  <a:pt x="6076576" y="779297"/>
                  <a:pt x="6076576" y="779297"/>
                </a:cubicBezTo>
                <a:cubicBezTo>
                  <a:pt x="6077740" y="779070"/>
                  <a:pt x="6077740" y="777895"/>
                  <a:pt x="6077740" y="776840"/>
                </a:cubicBezTo>
                <a:cubicBezTo>
                  <a:pt x="6077740" y="734358"/>
                  <a:pt x="6077740" y="734358"/>
                  <a:pt x="6077740" y="734358"/>
                </a:cubicBezTo>
                <a:cubicBezTo>
                  <a:pt x="6077740" y="726967"/>
                  <a:pt x="6077504" y="714060"/>
                  <a:pt x="6053110" y="714060"/>
                </a:cubicBezTo>
                <a:close/>
                <a:moveTo>
                  <a:pt x="5965009" y="714060"/>
                </a:moveTo>
                <a:cubicBezTo>
                  <a:pt x="5959375" y="714060"/>
                  <a:pt x="5953622" y="715708"/>
                  <a:pt x="5949043" y="718639"/>
                </a:cubicBezTo>
                <a:cubicBezTo>
                  <a:pt x="5941997" y="723573"/>
                  <a:pt x="5937300" y="732957"/>
                  <a:pt x="5937300" y="747749"/>
                </a:cubicBezTo>
                <a:cubicBezTo>
                  <a:pt x="5937300" y="762422"/>
                  <a:pt x="5941997" y="771817"/>
                  <a:pt x="5949043" y="776741"/>
                </a:cubicBezTo>
                <a:cubicBezTo>
                  <a:pt x="5953385" y="779790"/>
                  <a:pt x="5959375" y="781201"/>
                  <a:pt x="5965009" y="781201"/>
                </a:cubicBezTo>
                <a:cubicBezTo>
                  <a:pt x="5970762" y="781201"/>
                  <a:pt x="5976515" y="779672"/>
                  <a:pt x="5980976" y="776741"/>
                </a:cubicBezTo>
                <a:cubicBezTo>
                  <a:pt x="5988140" y="771807"/>
                  <a:pt x="5992837" y="762422"/>
                  <a:pt x="5992837" y="747749"/>
                </a:cubicBezTo>
                <a:cubicBezTo>
                  <a:pt x="5992837" y="732957"/>
                  <a:pt x="5988140" y="723573"/>
                  <a:pt x="5980976" y="718639"/>
                </a:cubicBezTo>
                <a:cubicBezTo>
                  <a:pt x="5976752" y="715471"/>
                  <a:pt x="5970762" y="714060"/>
                  <a:pt x="5965009" y="714060"/>
                </a:cubicBezTo>
                <a:close/>
                <a:moveTo>
                  <a:pt x="5853225" y="714060"/>
                </a:moveTo>
                <a:cubicBezTo>
                  <a:pt x="5847591" y="714060"/>
                  <a:pt x="5841719" y="715708"/>
                  <a:pt x="5837259" y="718639"/>
                </a:cubicBezTo>
                <a:cubicBezTo>
                  <a:pt x="5830095" y="723573"/>
                  <a:pt x="5825398" y="732957"/>
                  <a:pt x="5825398" y="747749"/>
                </a:cubicBezTo>
                <a:cubicBezTo>
                  <a:pt x="5825398" y="762422"/>
                  <a:pt x="5830095" y="771817"/>
                  <a:pt x="5837259" y="776741"/>
                </a:cubicBezTo>
                <a:cubicBezTo>
                  <a:pt x="5841601" y="779790"/>
                  <a:pt x="5847472" y="781201"/>
                  <a:pt x="5853225" y="781201"/>
                </a:cubicBezTo>
                <a:cubicBezTo>
                  <a:pt x="5858978" y="781201"/>
                  <a:pt x="5864613" y="779672"/>
                  <a:pt x="5869192" y="776741"/>
                </a:cubicBezTo>
                <a:cubicBezTo>
                  <a:pt x="5876237" y="771807"/>
                  <a:pt x="5880935" y="762422"/>
                  <a:pt x="5880935" y="747749"/>
                </a:cubicBezTo>
                <a:cubicBezTo>
                  <a:pt x="5880935" y="732957"/>
                  <a:pt x="5876237" y="723573"/>
                  <a:pt x="5869192" y="718639"/>
                </a:cubicBezTo>
                <a:cubicBezTo>
                  <a:pt x="5864613" y="715471"/>
                  <a:pt x="5858978" y="714060"/>
                  <a:pt x="5853225" y="714060"/>
                </a:cubicBezTo>
                <a:close/>
                <a:moveTo>
                  <a:pt x="5791294" y="714060"/>
                </a:moveTo>
                <a:cubicBezTo>
                  <a:pt x="5781910" y="714060"/>
                  <a:pt x="5775693" y="716053"/>
                  <a:pt x="5772180" y="717109"/>
                </a:cubicBezTo>
                <a:cubicBezTo>
                  <a:pt x="5768075" y="718520"/>
                  <a:pt x="5766664" y="720040"/>
                  <a:pt x="5766664" y="722152"/>
                </a:cubicBezTo>
                <a:cubicBezTo>
                  <a:pt x="5766664" y="777066"/>
                  <a:pt x="5766664" y="777066"/>
                  <a:pt x="5766664" y="777066"/>
                </a:cubicBezTo>
                <a:cubicBezTo>
                  <a:pt x="5766664" y="779060"/>
                  <a:pt x="5767138" y="779297"/>
                  <a:pt x="5768894" y="779297"/>
                </a:cubicBezTo>
                <a:cubicBezTo>
                  <a:pt x="5774993" y="779297"/>
                  <a:pt x="5774993" y="779297"/>
                  <a:pt x="5774993" y="779297"/>
                </a:cubicBezTo>
                <a:cubicBezTo>
                  <a:pt x="5776749" y="779297"/>
                  <a:pt x="5777568" y="779060"/>
                  <a:pt x="5777568" y="776830"/>
                </a:cubicBezTo>
                <a:cubicBezTo>
                  <a:pt x="5777568" y="726257"/>
                  <a:pt x="5777568" y="726257"/>
                  <a:pt x="5777568" y="726257"/>
                </a:cubicBezTo>
                <a:cubicBezTo>
                  <a:pt x="5777568" y="723553"/>
                  <a:pt x="5782255" y="720740"/>
                  <a:pt x="5790821" y="720740"/>
                </a:cubicBezTo>
                <a:cubicBezTo>
                  <a:pt x="5805129" y="720740"/>
                  <a:pt x="5805129" y="730006"/>
                  <a:pt x="5805129" y="735759"/>
                </a:cubicBezTo>
                <a:cubicBezTo>
                  <a:pt x="5805129" y="776830"/>
                  <a:pt x="5805129" y="776830"/>
                  <a:pt x="5805129" y="776830"/>
                </a:cubicBezTo>
                <a:cubicBezTo>
                  <a:pt x="5805129" y="779060"/>
                  <a:pt x="5805830" y="779297"/>
                  <a:pt x="5807942" y="779297"/>
                </a:cubicBezTo>
                <a:cubicBezTo>
                  <a:pt x="5814740" y="779297"/>
                  <a:pt x="5814740" y="779297"/>
                  <a:pt x="5814740" y="779297"/>
                </a:cubicBezTo>
                <a:cubicBezTo>
                  <a:pt x="5815925" y="779070"/>
                  <a:pt x="5816043" y="777895"/>
                  <a:pt x="5816043" y="776840"/>
                </a:cubicBezTo>
                <a:cubicBezTo>
                  <a:pt x="5816043" y="734358"/>
                  <a:pt x="5816043" y="734358"/>
                  <a:pt x="5816043" y="734358"/>
                </a:cubicBezTo>
                <a:cubicBezTo>
                  <a:pt x="5816043" y="726967"/>
                  <a:pt x="5815925" y="714060"/>
                  <a:pt x="5791294" y="714060"/>
                </a:cubicBezTo>
                <a:close/>
                <a:moveTo>
                  <a:pt x="6231670" y="692735"/>
                </a:moveTo>
                <a:cubicBezTo>
                  <a:pt x="6229568" y="692735"/>
                  <a:pt x="6229450" y="693436"/>
                  <a:pt x="6229450" y="695548"/>
                </a:cubicBezTo>
                <a:cubicBezTo>
                  <a:pt x="6229450" y="717839"/>
                  <a:pt x="6229450" y="717839"/>
                  <a:pt x="6229450" y="717839"/>
                </a:cubicBezTo>
                <a:cubicBezTo>
                  <a:pt x="6225591" y="715846"/>
                  <a:pt x="6221851" y="714435"/>
                  <a:pt x="6216128" y="714435"/>
                </a:cubicBezTo>
                <a:cubicBezTo>
                  <a:pt x="6197083" y="714435"/>
                  <a:pt x="6187383" y="732621"/>
                  <a:pt x="6187383" y="747749"/>
                </a:cubicBezTo>
                <a:cubicBezTo>
                  <a:pt x="6187383" y="770277"/>
                  <a:pt x="6199649" y="781181"/>
                  <a:pt x="6218348" y="781181"/>
                </a:cubicBezTo>
                <a:cubicBezTo>
                  <a:pt x="6227348" y="781201"/>
                  <a:pt x="6240087" y="776741"/>
                  <a:pt x="6240087" y="772517"/>
                </a:cubicBezTo>
                <a:cubicBezTo>
                  <a:pt x="6240087" y="695202"/>
                  <a:pt x="6240087" y="695202"/>
                  <a:pt x="6240087" y="695202"/>
                </a:cubicBezTo>
                <a:cubicBezTo>
                  <a:pt x="6240087" y="692854"/>
                  <a:pt x="6239387" y="692735"/>
                  <a:pt x="6237749" y="692735"/>
                </a:cubicBezTo>
                <a:cubicBezTo>
                  <a:pt x="6231670" y="692735"/>
                  <a:pt x="6231670" y="692735"/>
                  <a:pt x="6231670" y="692735"/>
                </a:cubicBezTo>
                <a:close/>
                <a:moveTo>
                  <a:pt x="6328178" y="692508"/>
                </a:moveTo>
                <a:cubicBezTo>
                  <a:pt x="6326886" y="692508"/>
                  <a:pt x="6326175" y="692745"/>
                  <a:pt x="6326175" y="694502"/>
                </a:cubicBezTo>
                <a:cubicBezTo>
                  <a:pt x="6326175" y="777313"/>
                  <a:pt x="6326175" y="777313"/>
                  <a:pt x="6326175" y="777313"/>
                </a:cubicBezTo>
                <a:cubicBezTo>
                  <a:pt x="6326175" y="778951"/>
                  <a:pt x="6326530" y="779188"/>
                  <a:pt x="6328178" y="779188"/>
                </a:cubicBezTo>
                <a:cubicBezTo>
                  <a:pt x="6334642" y="779188"/>
                  <a:pt x="6334642" y="779188"/>
                  <a:pt x="6334642" y="779188"/>
                </a:cubicBezTo>
                <a:cubicBezTo>
                  <a:pt x="6336161" y="779188"/>
                  <a:pt x="6336872" y="779188"/>
                  <a:pt x="6336872" y="777431"/>
                </a:cubicBezTo>
                <a:cubicBezTo>
                  <a:pt x="6336872" y="694265"/>
                  <a:pt x="6336872" y="694265"/>
                  <a:pt x="6336872" y="694265"/>
                </a:cubicBezTo>
                <a:cubicBezTo>
                  <a:pt x="6336872" y="692508"/>
                  <a:pt x="6336053" y="692508"/>
                  <a:pt x="6334642" y="692508"/>
                </a:cubicBezTo>
                <a:cubicBezTo>
                  <a:pt x="6328178" y="692508"/>
                  <a:pt x="6328178" y="692508"/>
                  <a:pt x="6328178" y="692508"/>
                </a:cubicBezTo>
                <a:close/>
                <a:moveTo>
                  <a:pt x="6260336" y="691798"/>
                </a:moveTo>
                <a:cubicBezTo>
                  <a:pt x="6256379" y="691798"/>
                  <a:pt x="6253587" y="694610"/>
                  <a:pt x="6253587" y="698350"/>
                </a:cubicBezTo>
                <a:cubicBezTo>
                  <a:pt x="6253587" y="701863"/>
                  <a:pt x="6256034" y="704784"/>
                  <a:pt x="6260100" y="704784"/>
                </a:cubicBezTo>
                <a:cubicBezTo>
                  <a:pt x="6264284" y="704666"/>
                  <a:pt x="6266849" y="701389"/>
                  <a:pt x="6266731" y="697886"/>
                </a:cubicBezTo>
                <a:cubicBezTo>
                  <a:pt x="6266494" y="694255"/>
                  <a:pt x="6263593" y="691798"/>
                  <a:pt x="6260336" y="691798"/>
                </a:cubicBezTo>
                <a:close/>
                <a:moveTo>
                  <a:pt x="6390573" y="682492"/>
                </a:moveTo>
                <a:lnTo>
                  <a:pt x="6390813" y="682669"/>
                </a:lnTo>
                <a:lnTo>
                  <a:pt x="6390573" y="682729"/>
                </a:lnTo>
                <a:cubicBezTo>
                  <a:pt x="6390573" y="682729"/>
                  <a:pt x="6390573" y="682729"/>
                  <a:pt x="6390573" y="682492"/>
                </a:cubicBezTo>
                <a:close/>
                <a:moveTo>
                  <a:pt x="6383429" y="673927"/>
                </a:moveTo>
                <a:cubicBezTo>
                  <a:pt x="6387287" y="673927"/>
                  <a:pt x="6387287" y="673927"/>
                  <a:pt x="6387287" y="673927"/>
                </a:cubicBezTo>
                <a:cubicBezTo>
                  <a:pt x="6389280" y="673927"/>
                  <a:pt x="6392557" y="673927"/>
                  <a:pt x="6392557" y="677095"/>
                </a:cubicBezTo>
                <a:cubicBezTo>
                  <a:pt x="6392557" y="680262"/>
                  <a:pt x="6389162" y="680262"/>
                  <a:pt x="6387642" y="680262"/>
                </a:cubicBezTo>
                <a:cubicBezTo>
                  <a:pt x="6383429" y="680262"/>
                  <a:pt x="6383429" y="680262"/>
                  <a:pt x="6383429" y="680262"/>
                </a:cubicBezTo>
                <a:close/>
                <a:moveTo>
                  <a:pt x="6380153" y="670986"/>
                </a:moveTo>
                <a:lnTo>
                  <a:pt x="6380153" y="692232"/>
                </a:lnTo>
                <a:cubicBezTo>
                  <a:pt x="6383666" y="692232"/>
                  <a:pt x="6383666" y="692232"/>
                  <a:pt x="6383666" y="692232"/>
                </a:cubicBezTo>
                <a:cubicBezTo>
                  <a:pt x="6383666" y="683193"/>
                  <a:pt x="6383666" y="683193"/>
                  <a:pt x="6383666" y="683193"/>
                </a:cubicBezTo>
                <a:cubicBezTo>
                  <a:pt x="6385659" y="683193"/>
                  <a:pt x="6385659" y="683193"/>
                  <a:pt x="6385659" y="683193"/>
                </a:cubicBezTo>
                <a:cubicBezTo>
                  <a:pt x="6388471" y="683193"/>
                  <a:pt x="6389517" y="684249"/>
                  <a:pt x="6391974" y="688828"/>
                </a:cubicBezTo>
                <a:cubicBezTo>
                  <a:pt x="6393849" y="692114"/>
                  <a:pt x="6393849" y="692114"/>
                  <a:pt x="6393849" y="692114"/>
                </a:cubicBezTo>
                <a:cubicBezTo>
                  <a:pt x="6397944" y="692114"/>
                  <a:pt x="6397944" y="692114"/>
                  <a:pt x="6397944" y="692114"/>
                </a:cubicBezTo>
                <a:cubicBezTo>
                  <a:pt x="6395369" y="687890"/>
                  <a:pt x="6395369" y="687890"/>
                  <a:pt x="6395369" y="687890"/>
                </a:cubicBezTo>
                <a:cubicBezTo>
                  <a:pt x="6394081" y="685838"/>
                  <a:pt x="6393173" y="684634"/>
                  <a:pt x="6392442" y="683870"/>
                </a:cubicBezTo>
                <a:lnTo>
                  <a:pt x="6390813" y="682669"/>
                </a:lnTo>
                <a:lnTo>
                  <a:pt x="6393334" y="682040"/>
                </a:lnTo>
                <a:cubicBezTo>
                  <a:pt x="6395622" y="680901"/>
                  <a:pt x="6396543" y="678590"/>
                  <a:pt x="6396543" y="676739"/>
                </a:cubicBezTo>
                <a:cubicBezTo>
                  <a:pt x="6396543" y="674983"/>
                  <a:pt x="6395724" y="673453"/>
                  <a:pt x="6394550" y="672634"/>
                </a:cubicBezTo>
                <a:cubicBezTo>
                  <a:pt x="6392794" y="670986"/>
                  <a:pt x="6389991" y="670986"/>
                  <a:pt x="6387642" y="670986"/>
                </a:cubicBezTo>
                <a:cubicBezTo>
                  <a:pt x="6380153" y="670986"/>
                  <a:pt x="6380153" y="670986"/>
                  <a:pt x="6380153" y="670986"/>
                </a:cubicBezTo>
                <a:close/>
                <a:moveTo>
                  <a:pt x="6388462" y="665125"/>
                </a:moveTo>
                <a:cubicBezTo>
                  <a:pt x="6397471" y="665125"/>
                  <a:pt x="6404842" y="672397"/>
                  <a:pt x="6404842" y="681436"/>
                </a:cubicBezTo>
                <a:cubicBezTo>
                  <a:pt x="6404842" y="690475"/>
                  <a:pt x="6397589" y="697985"/>
                  <a:pt x="6388462" y="697985"/>
                </a:cubicBezTo>
                <a:cubicBezTo>
                  <a:pt x="6379452" y="697985"/>
                  <a:pt x="6372199" y="690475"/>
                  <a:pt x="6372199" y="681436"/>
                </a:cubicBezTo>
                <a:cubicBezTo>
                  <a:pt x="6372081" y="672397"/>
                  <a:pt x="6379334" y="665125"/>
                  <a:pt x="6388462" y="665125"/>
                </a:cubicBezTo>
                <a:close/>
                <a:moveTo>
                  <a:pt x="6388462" y="661720"/>
                </a:moveTo>
                <a:cubicBezTo>
                  <a:pt x="6377696" y="661720"/>
                  <a:pt x="6368923" y="670523"/>
                  <a:pt x="6368923" y="681436"/>
                </a:cubicBezTo>
                <a:cubicBezTo>
                  <a:pt x="6368923" y="692469"/>
                  <a:pt x="6377696" y="701153"/>
                  <a:pt x="6388462" y="701153"/>
                </a:cubicBezTo>
                <a:cubicBezTo>
                  <a:pt x="6399346" y="701153"/>
                  <a:pt x="6408000" y="692232"/>
                  <a:pt x="6408000" y="681436"/>
                </a:cubicBezTo>
                <a:cubicBezTo>
                  <a:pt x="6408000" y="670641"/>
                  <a:pt x="6399227" y="661720"/>
                  <a:pt x="6388462" y="661720"/>
                </a:cubicBezTo>
                <a:close/>
                <a:moveTo>
                  <a:pt x="6193357" y="533825"/>
                </a:moveTo>
                <a:cubicBezTo>
                  <a:pt x="6193898" y="533781"/>
                  <a:pt x="6194542" y="534045"/>
                  <a:pt x="6195011" y="534572"/>
                </a:cubicBezTo>
                <a:cubicBezTo>
                  <a:pt x="6202165" y="542072"/>
                  <a:pt x="6199708" y="598694"/>
                  <a:pt x="6198178" y="609944"/>
                </a:cubicBezTo>
                <a:cubicBezTo>
                  <a:pt x="6197823" y="612756"/>
                  <a:pt x="6195248" y="614986"/>
                  <a:pt x="6194547" y="609243"/>
                </a:cubicBezTo>
                <a:cubicBezTo>
                  <a:pt x="6193728" y="601980"/>
                  <a:pt x="6189860" y="585215"/>
                  <a:pt x="6188685" y="578297"/>
                </a:cubicBezTo>
                <a:cubicBezTo>
                  <a:pt x="6187393" y="571735"/>
                  <a:pt x="6191034" y="551693"/>
                  <a:pt x="6192317" y="534928"/>
                </a:cubicBezTo>
                <a:cubicBezTo>
                  <a:pt x="6192376" y="534222"/>
                  <a:pt x="6192815" y="533869"/>
                  <a:pt x="6193357" y="533825"/>
                </a:cubicBezTo>
                <a:close/>
                <a:moveTo>
                  <a:pt x="6057324" y="488973"/>
                </a:moveTo>
                <a:cubicBezTo>
                  <a:pt x="6075392" y="491440"/>
                  <a:pt x="6093687" y="491904"/>
                  <a:pt x="6111627" y="490848"/>
                </a:cubicBezTo>
                <a:cubicBezTo>
                  <a:pt x="6114558" y="501979"/>
                  <a:pt x="6114202" y="516514"/>
                  <a:pt x="6110097" y="520619"/>
                </a:cubicBezTo>
                <a:cubicBezTo>
                  <a:pt x="6103525" y="527300"/>
                  <a:pt x="6073862" y="526007"/>
                  <a:pt x="6065415" y="524724"/>
                </a:cubicBezTo>
                <a:cubicBezTo>
                  <a:pt x="6063067" y="524369"/>
                  <a:pt x="6060728" y="524024"/>
                  <a:pt x="6059435" y="517925"/>
                </a:cubicBezTo>
                <a:cubicBezTo>
                  <a:pt x="6058024" y="510771"/>
                  <a:pt x="6057906" y="497647"/>
                  <a:pt x="6057324" y="488973"/>
                </a:cubicBezTo>
                <a:close/>
                <a:moveTo>
                  <a:pt x="6152085" y="486042"/>
                </a:moveTo>
                <a:cubicBezTo>
                  <a:pt x="6157128" y="495417"/>
                  <a:pt x="6157483" y="500814"/>
                  <a:pt x="6156072" y="505502"/>
                </a:cubicBezTo>
                <a:cubicBezTo>
                  <a:pt x="6154661" y="510189"/>
                  <a:pt x="6148099" y="512883"/>
                  <a:pt x="6146688" y="512301"/>
                </a:cubicBezTo>
                <a:cubicBezTo>
                  <a:pt x="6146451" y="502216"/>
                  <a:pt x="6143757" y="494597"/>
                  <a:pt x="6139060" y="487799"/>
                </a:cubicBezTo>
                <a:cubicBezTo>
                  <a:pt x="6143175" y="487098"/>
                  <a:pt x="6147516" y="486516"/>
                  <a:pt x="6152085" y="486042"/>
                </a:cubicBezTo>
                <a:close/>
                <a:moveTo>
                  <a:pt x="6012296" y="479253"/>
                </a:moveTo>
                <a:cubicBezTo>
                  <a:pt x="6018039" y="481009"/>
                  <a:pt x="6023911" y="482539"/>
                  <a:pt x="6029654" y="483940"/>
                </a:cubicBezTo>
                <a:cubicBezTo>
                  <a:pt x="6025667" y="509143"/>
                  <a:pt x="6017813" y="516287"/>
                  <a:pt x="6013707" y="517935"/>
                </a:cubicBezTo>
                <a:cubicBezTo>
                  <a:pt x="6010530" y="519218"/>
                  <a:pt x="6003613" y="519919"/>
                  <a:pt x="6006080" y="511955"/>
                </a:cubicBezTo>
                <a:cubicBezTo>
                  <a:pt x="6008546" y="503982"/>
                  <a:pt x="6010885" y="490384"/>
                  <a:pt x="6012296" y="479253"/>
                </a:cubicBezTo>
                <a:close/>
                <a:moveTo>
                  <a:pt x="5992209" y="472823"/>
                </a:moveTo>
                <a:cubicBezTo>
                  <a:pt x="5994189" y="472955"/>
                  <a:pt x="5997297" y="474156"/>
                  <a:pt x="6003277" y="476440"/>
                </a:cubicBezTo>
                <a:cubicBezTo>
                  <a:pt x="6002458" y="495782"/>
                  <a:pt x="5997534" y="506804"/>
                  <a:pt x="5995649" y="516642"/>
                </a:cubicBezTo>
                <a:cubicBezTo>
                  <a:pt x="5993537" y="526727"/>
                  <a:pt x="6004797" y="529066"/>
                  <a:pt x="6014763" y="526609"/>
                </a:cubicBezTo>
                <a:cubicBezTo>
                  <a:pt x="6024611" y="524152"/>
                  <a:pt x="6033996" y="513830"/>
                  <a:pt x="6038101" y="485815"/>
                </a:cubicBezTo>
                <a:cubicBezTo>
                  <a:pt x="6041969" y="486753"/>
                  <a:pt x="6045137" y="487226"/>
                  <a:pt x="6049123" y="487808"/>
                </a:cubicBezTo>
                <a:cubicBezTo>
                  <a:pt x="6049597" y="516879"/>
                  <a:pt x="6051353" y="523441"/>
                  <a:pt x="6052528" y="526017"/>
                </a:cubicBezTo>
                <a:cubicBezTo>
                  <a:pt x="6054758" y="531405"/>
                  <a:pt x="6060156" y="533171"/>
                  <a:pt x="6064488" y="533517"/>
                </a:cubicBezTo>
                <a:cubicBezTo>
                  <a:pt x="6087243" y="535273"/>
                  <a:pt x="6109288" y="534572"/>
                  <a:pt x="6117025" y="526954"/>
                </a:cubicBezTo>
                <a:cubicBezTo>
                  <a:pt x="6124879" y="519218"/>
                  <a:pt x="6122186" y="500350"/>
                  <a:pt x="6119955" y="490147"/>
                </a:cubicBezTo>
                <a:cubicBezTo>
                  <a:pt x="6123587" y="489792"/>
                  <a:pt x="6126527" y="489446"/>
                  <a:pt x="6130040" y="488973"/>
                </a:cubicBezTo>
                <a:cubicBezTo>
                  <a:pt x="6137550" y="497647"/>
                  <a:pt x="6138487" y="507140"/>
                  <a:pt x="6138487" y="513120"/>
                </a:cubicBezTo>
                <a:cubicBezTo>
                  <a:pt x="6138487" y="519800"/>
                  <a:pt x="6145878" y="523313"/>
                  <a:pt x="6156200" y="516169"/>
                </a:cubicBezTo>
                <a:cubicBezTo>
                  <a:pt x="6166404" y="509015"/>
                  <a:pt x="6165466" y="496472"/>
                  <a:pt x="6159832" y="485105"/>
                </a:cubicBezTo>
                <a:cubicBezTo>
                  <a:pt x="6183288" y="483230"/>
                  <a:pt x="6182113" y="498584"/>
                  <a:pt x="6180821" y="517580"/>
                </a:cubicBezTo>
                <a:cubicBezTo>
                  <a:pt x="6179646" y="536339"/>
                  <a:pt x="6175423" y="562943"/>
                  <a:pt x="6169098" y="565992"/>
                </a:cubicBezTo>
                <a:cubicBezTo>
                  <a:pt x="6162644" y="568686"/>
                  <a:pt x="6152559" y="551456"/>
                  <a:pt x="6100022" y="550637"/>
                </a:cubicBezTo>
                <a:cubicBezTo>
                  <a:pt x="6062731" y="549937"/>
                  <a:pt x="6034114" y="554979"/>
                  <a:pt x="6028835" y="589083"/>
                </a:cubicBezTo>
                <a:cubicBezTo>
                  <a:pt x="6028480" y="591540"/>
                  <a:pt x="6027078" y="591195"/>
                  <a:pt x="6025786" y="589902"/>
                </a:cubicBezTo>
                <a:cubicBezTo>
                  <a:pt x="6015582" y="578771"/>
                  <a:pt x="6006198" y="573728"/>
                  <a:pt x="5991189" y="565054"/>
                </a:cubicBezTo>
                <a:cubicBezTo>
                  <a:pt x="5976061" y="556144"/>
                  <a:pt x="5965976" y="544194"/>
                  <a:pt x="5964101" y="532352"/>
                </a:cubicBezTo>
                <a:cubicBezTo>
                  <a:pt x="5962226" y="520511"/>
                  <a:pt x="5966568" y="504692"/>
                  <a:pt x="5987913" y="475622"/>
                </a:cubicBezTo>
                <a:cubicBezTo>
                  <a:pt x="5989378" y="473628"/>
                  <a:pt x="5990229" y="472691"/>
                  <a:pt x="5992209" y="472823"/>
                </a:cubicBezTo>
                <a:close/>
                <a:moveTo>
                  <a:pt x="5936176" y="459523"/>
                </a:moveTo>
                <a:cubicBezTo>
                  <a:pt x="5930898" y="459478"/>
                  <a:pt x="5921507" y="461930"/>
                  <a:pt x="5925281" y="467273"/>
                </a:cubicBezTo>
                <a:cubicBezTo>
                  <a:pt x="5930314" y="474625"/>
                  <a:pt x="5940261" y="462487"/>
                  <a:pt x="5939441" y="460386"/>
                </a:cubicBezTo>
                <a:cubicBezTo>
                  <a:pt x="5939237" y="459830"/>
                  <a:pt x="5937935" y="459538"/>
                  <a:pt x="5936176" y="459523"/>
                </a:cubicBezTo>
                <a:close/>
                <a:moveTo>
                  <a:pt x="5932776" y="444794"/>
                </a:moveTo>
                <a:cubicBezTo>
                  <a:pt x="5937135" y="443888"/>
                  <a:pt x="5942895" y="446987"/>
                  <a:pt x="5955654" y="454632"/>
                </a:cubicBezTo>
                <a:cubicBezTo>
                  <a:pt x="5976298" y="467175"/>
                  <a:pt x="5982633" y="464599"/>
                  <a:pt x="5975588" y="475730"/>
                </a:cubicBezTo>
                <a:cubicBezTo>
                  <a:pt x="5971246" y="482884"/>
                  <a:pt x="5956582" y="501870"/>
                  <a:pt x="5952951" y="525198"/>
                </a:cubicBezTo>
                <a:cubicBezTo>
                  <a:pt x="5948027" y="518636"/>
                  <a:pt x="5941336" y="502344"/>
                  <a:pt x="5935711" y="497884"/>
                </a:cubicBezTo>
                <a:cubicBezTo>
                  <a:pt x="5924689" y="489210"/>
                  <a:pt x="5915186" y="495890"/>
                  <a:pt x="5911081" y="490848"/>
                </a:cubicBezTo>
                <a:cubicBezTo>
                  <a:pt x="5906502" y="485341"/>
                  <a:pt x="5904627" y="484986"/>
                  <a:pt x="5908732" y="479717"/>
                </a:cubicBezTo>
                <a:cubicBezTo>
                  <a:pt x="5908732" y="479717"/>
                  <a:pt x="5913657" y="473273"/>
                  <a:pt x="5915531" y="470569"/>
                </a:cubicBezTo>
                <a:cubicBezTo>
                  <a:pt x="5917643" y="467757"/>
                  <a:pt x="5917061" y="462477"/>
                  <a:pt x="5917998" y="460257"/>
                </a:cubicBezTo>
                <a:cubicBezTo>
                  <a:pt x="5918817" y="458027"/>
                  <a:pt x="5923860" y="451347"/>
                  <a:pt x="5928675" y="447015"/>
                </a:cubicBezTo>
                <a:cubicBezTo>
                  <a:pt x="5930025" y="445843"/>
                  <a:pt x="5931323" y="445096"/>
                  <a:pt x="5932776" y="444794"/>
                </a:cubicBezTo>
                <a:close/>
                <a:moveTo>
                  <a:pt x="5904946" y="389214"/>
                </a:moveTo>
                <a:cubicBezTo>
                  <a:pt x="5903949" y="389421"/>
                  <a:pt x="5903216" y="391414"/>
                  <a:pt x="5903216" y="395691"/>
                </a:cubicBezTo>
                <a:cubicBezTo>
                  <a:pt x="5903216" y="417144"/>
                  <a:pt x="5912601" y="430032"/>
                  <a:pt x="5915887" y="433673"/>
                </a:cubicBezTo>
                <a:cubicBezTo>
                  <a:pt x="5919054" y="437304"/>
                  <a:pt x="5920574" y="440936"/>
                  <a:pt x="5918817" y="443048"/>
                </a:cubicBezTo>
                <a:cubicBezTo>
                  <a:pt x="5914130" y="448554"/>
                  <a:pt x="5909088" y="454652"/>
                  <a:pt x="5908969" y="457109"/>
                </a:cubicBezTo>
                <a:cubicBezTo>
                  <a:pt x="5908732" y="459803"/>
                  <a:pt x="5908969" y="461096"/>
                  <a:pt x="5907913" y="464145"/>
                </a:cubicBezTo>
                <a:cubicBezTo>
                  <a:pt x="5906858" y="467076"/>
                  <a:pt x="5903108" y="471408"/>
                  <a:pt x="5897128" y="478681"/>
                </a:cubicBezTo>
                <a:cubicBezTo>
                  <a:pt x="5893842" y="482904"/>
                  <a:pt x="5895954" y="487473"/>
                  <a:pt x="5898766" y="490522"/>
                </a:cubicBezTo>
                <a:cubicBezTo>
                  <a:pt x="5902052" y="494272"/>
                  <a:pt x="5904282" y="498614"/>
                  <a:pt x="5908387" y="500489"/>
                </a:cubicBezTo>
                <a:cubicBezTo>
                  <a:pt x="5912611" y="502364"/>
                  <a:pt x="5916360" y="501071"/>
                  <a:pt x="5921284" y="501900"/>
                </a:cubicBezTo>
                <a:cubicBezTo>
                  <a:pt x="5925972" y="502719"/>
                  <a:pt x="5931843" y="505531"/>
                  <a:pt x="5936530" y="513860"/>
                </a:cubicBezTo>
                <a:cubicBezTo>
                  <a:pt x="5943329" y="526047"/>
                  <a:pt x="5950602" y="545042"/>
                  <a:pt x="5963736" y="560742"/>
                </a:cubicBezTo>
                <a:cubicBezTo>
                  <a:pt x="5969598" y="567660"/>
                  <a:pt x="5969598" y="580439"/>
                  <a:pt x="5969598" y="584534"/>
                </a:cubicBezTo>
                <a:cubicBezTo>
                  <a:pt x="5969953" y="621341"/>
                  <a:pt x="5950720" y="656155"/>
                  <a:pt x="5938405" y="678308"/>
                </a:cubicBezTo>
                <a:cubicBezTo>
                  <a:pt x="5935475" y="683469"/>
                  <a:pt x="5936175" y="687801"/>
                  <a:pt x="5940043" y="687801"/>
                </a:cubicBezTo>
                <a:cubicBezTo>
                  <a:pt x="5944504" y="687801"/>
                  <a:pt x="5961151" y="687801"/>
                  <a:pt x="5963973" y="687801"/>
                </a:cubicBezTo>
                <a:cubicBezTo>
                  <a:pt x="5967022" y="687801"/>
                  <a:pt x="5968897" y="684515"/>
                  <a:pt x="5969134" y="681002"/>
                </a:cubicBezTo>
                <a:cubicBezTo>
                  <a:pt x="5971246" y="650876"/>
                  <a:pt x="5988248" y="595665"/>
                  <a:pt x="6001037" y="586290"/>
                </a:cubicBezTo>
                <a:cubicBezTo>
                  <a:pt x="6022500" y="599770"/>
                  <a:pt x="6043844" y="628604"/>
                  <a:pt x="6033404" y="679127"/>
                </a:cubicBezTo>
                <a:cubicBezTo>
                  <a:pt x="6032930" y="681940"/>
                  <a:pt x="6030355" y="688038"/>
                  <a:pt x="6036808" y="688038"/>
                </a:cubicBezTo>
                <a:cubicBezTo>
                  <a:pt x="6036808" y="688038"/>
                  <a:pt x="6054985" y="688038"/>
                  <a:pt x="6057334" y="688038"/>
                </a:cubicBezTo>
                <a:cubicBezTo>
                  <a:pt x="6060027" y="688038"/>
                  <a:pt x="6064369" y="686982"/>
                  <a:pt x="6064014" y="682058"/>
                </a:cubicBezTo>
                <a:cubicBezTo>
                  <a:pt x="6062958" y="662362"/>
                  <a:pt x="6046420" y="620759"/>
                  <a:pt x="6042088" y="596257"/>
                </a:cubicBezTo>
                <a:cubicBezTo>
                  <a:pt x="6039394" y="580784"/>
                  <a:pt x="6051709" y="553124"/>
                  <a:pt x="6098147" y="574340"/>
                </a:cubicBezTo>
                <a:cubicBezTo>
                  <a:pt x="6115978" y="558285"/>
                  <a:pt x="6139435" y="568015"/>
                  <a:pt x="6129340" y="598842"/>
                </a:cubicBezTo>
                <a:cubicBezTo>
                  <a:pt x="6119492" y="629551"/>
                  <a:pt x="6110926" y="643031"/>
                  <a:pt x="6077148" y="679137"/>
                </a:cubicBezTo>
                <a:cubicBezTo>
                  <a:pt x="6073398" y="683361"/>
                  <a:pt x="6073043" y="687811"/>
                  <a:pt x="6079260" y="687811"/>
                </a:cubicBezTo>
                <a:cubicBezTo>
                  <a:pt x="6082309" y="687811"/>
                  <a:pt x="6097792" y="687811"/>
                  <a:pt x="6100960" y="687811"/>
                </a:cubicBezTo>
                <a:cubicBezTo>
                  <a:pt x="6105647" y="687811"/>
                  <a:pt x="6107532" y="686400"/>
                  <a:pt x="6108933" y="682769"/>
                </a:cubicBezTo>
                <a:cubicBezTo>
                  <a:pt x="6110226" y="678900"/>
                  <a:pt x="6125708" y="629906"/>
                  <a:pt x="6156082" y="606934"/>
                </a:cubicBezTo>
                <a:cubicBezTo>
                  <a:pt x="6158430" y="605177"/>
                  <a:pt x="6160424" y="597322"/>
                  <a:pt x="6165111" y="579392"/>
                </a:cubicBezTo>
                <a:cubicBezTo>
                  <a:pt x="6179775" y="598734"/>
                  <a:pt x="6181768" y="633893"/>
                  <a:pt x="6156546" y="679256"/>
                </a:cubicBezTo>
                <a:cubicBezTo>
                  <a:pt x="6153970" y="684061"/>
                  <a:pt x="6155490" y="687693"/>
                  <a:pt x="6158657" y="687693"/>
                </a:cubicBezTo>
                <a:cubicBezTo>
                  <a:pt x="6160414" y="687693"/>
                  <a:pt x="6174140" y="687693"/>
                  <a:pt x="6178245" y="687693"/>
                </a:cubicBezTo>
                <a:cubicBezTo>
                  <a:pt x="6181877" y="687693"/>
                  <a:pt x="6182932" y="685699"/>
                  <a:pt x="6184344" y="680193"/>
                </a:cubicBezTo>
                <a:cubicBezTo>
                  <a:pt x="6186100" y="673394"/>
                  <a:pt x="6186692" y="670108"/>
                  <a:pt x="6189031" y="663664"/>
                </a:cubicBezTo>
                <a:cubicBezTo>
                  <a:pt x="6190442" y="659678"/>
                  <a:pt x="6191024" y="658977"/>
                  <a:pt x="6206744" y="659096"/>
                </a:cubicBezTo>
                <a:cubicBezTo>
                  <a:pt x="6211668" y="659096"/>
                  <a:pt x="6211322" y="656520"/>
                  <a:pt x="6211322" y="652297"/>
                </a:cubicBezTo>
                <a:cubicBezTo>
                  <a:pt x="6211549" y="591540"/>
                  <a:pt x="6211905" y="528010"/>
                  <a:pt x="6207326" y="506212"/>
                </a:cubicBezTo>
                <a:cubicBezTo>
                  <a:pt x="6200991" y="475622"/>
                  <a:pt x="6174367" y="474684"/>
                  <a:pt x="6160414" y="475740"/>
                </a:cubicBezTo>
                <a:cubicBezTo>
                  <a:pt x="6145868" y="476796"/>
                  <a:pt x="6118426" y="481128"/>
                  <a:pt x="6090164" y="481128"/>
                </a:cubicBezTo>
                <a:cubicBezTo>
                  <a:pt x="6052044" y="481128"/>
                  <a:pt x="6009119" y="470342"/>
                  <a:pt x="5976288" y="454988"/>
                </a:cubicBezTo>
                <a:cubicBezTo>
                  <a:pt x="5970545" y="452412"/>
                  <a:pt x="5973476" y="451238"/>
                  <a:pt x="5975933" y="449827"/>
                </a:cubicBezTo>
                <a:cubicBezTo>
                  <a:pt x="5988248" y="443028"/>
                  <a:pt x="5998915" y="436929"/>
                  <a:pt x="6005487" y="426154"/>
                </a:cubicBezTo>
                <a:cubicBezTo>
                  <a:pt x="6010530" y="417954"/>
                  <a:pt x="6008655" y="415368"/>
                  <a:pt x="6003139" y="419828"/>
                </a:cubicBezTo>
                <a:cubicBezTo>
                  <a:pt x="5988248" y="432252"/>
                  <a:pt x="5967012" y="439170"/>
                  <a:pt x="5943329" y="430614"/>
                </a:cubicBezTo>
                <a:cubicBezTo>
                  <a:pt x="5919518" y="422177"/>
                  <a:pt x="5910371" y="399205"/>
                  <a:pt x="5908259" y="393461"/>
                </a:cubicBezTo>
                <a:cubicBezTo>
                  <a:pt x="5907203" y="390590"/>
                  <a:pt x="5905942" y="389009"/>
                  <a:pt x="5904946" y="389214"/>
                </a:cubicBezTo>
                <a:close/>
                <a:moveTo>
                  <a:pt x="5966647" y="335359"/>
                </a:moveTo>
                <a:cubicBezTo>
                  <a:pt x="5984350" y="335359"/>
                  <a:pt x="5998540" y="349766"/>
                  <a:pt x="5998540" y="367331"/>
                </a:cubicBezTo>
                <a:cubicBezTo>
                  <a:pt x="5998540" y="385014"/>
                  <a:pt x="5984350" y="399303"/>
                  <a:pt x="5966647" y="399303"/>
                </a:cubicBezTo>
                <a:cubicBezTo>
                  <a:pt x="5948944" y="399303"/>
                  <a:pt x="5934517" y="385014"/>
                  <a:pt x="5934517" y="367331"/>
                </a:cubicBezTo>
                <a:cubicBezTo>
                  <a:pt x="5934517" y="349539"/>
                  <a:pt x="5948944" y="335359"/>
                  <a:pt x="5966647" y="335359"/>
                </a:cubicBezTo>
                <a:close/>
                <a:moveTo>
                  <a:pt x="5965246" y="324001"/>
                </a:moveTo>
                <a:cubicBezTo>
                  <a:pt x="5938514" y="324001"/>
                  <a:pt x="5917051" y="345789"/>
                  <a:pt x="5917051" y="372374"/>
                </a:cubicBezTo>
                <a:cubicBezTo>
                  <a:pt x="5917051" y="399195"/>
                  <a:pt x="5938741" y="420746"/>
                  <a:pt x="5965246" y="420746"/>
                </a:cubicBezTo>
                <a:cubicBezTo>
                  <a:pt x="5991978" y="420746"/>
                  <a:pt x="6013441" y="398958"/>
                  <a:pt x="6013441" y="372374"/>
                </a:cubicBezTo>
                <a:cubicBezTo>
                  <a:pt x="6013441" y="345552"/>
                  <a:pt x="5991978" y="324001"/>
                  <a:pt x="5965246" y="324001"/>
                </a:cubicBezTo>
                <a:close/>
                <a:moveTo>
                  <a:pt x="0" y="0"/>
                </a:moveTo>
                <a:lnTo>
                  <a:pt x="6730700" y="0"/>
                </a:lnTo>
                <a:lnTo>
                  <a:pt x="6730700" y="2941488"/>
                </a:lnTo>
                <a:lnTo>
                  <a:pt x="0" y="2941488"/>
                </a:lnTo>
                <a:close/>
              </a:path>
            </a:pathLst>
          </a:custGeom>
          <a:solidFill>
            <a:srgbClr val="D4D7DC"/>
          </a:solidFill>
        </p:spPr>
        <p:txBody>
          <a:bodyPr wrap="square" tIns="7200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7" name="Picture Placeholder 6">
            <a:extLst>
              <a:ext uri="{FF2B5EF4-FFF2-40B4-BE49-F238E27FC236}">
                <a16:creationId xmlns:a16="http://schemas.microsoft.com/office/drawing/2014/main" id="{913F12A1-707C-1AD5-C730-9700ECA4D624}"/>
              </a:ext>
            </a:extLst>
          </p:cNvPr>
          <p:cNvSpPr>
            <a:spLocks noGrp="1"/>
          </p:cNvSpPr>
          <p:nvPr>
            <p:ph type="pic" sz="quarter" idx="19" hasCustomPrompt="1"/>
          </p:nvPr>
        </p:nvSpPr>
        <p:spPr>
          <a:xfrm>
            <a:off x="7386541" y="3589487"/>
            <a:ext cx="4480022" cy="2941488"/>
          </a:xfrm>
          <a:solidFill>
            <a:srgbClr val="D4D7DC"/>
          </a:solidFill>
          <a:effectLst/>
        </p:spPr>
        <p:txBody>
          <a:bodyPr vert="horz" wrap="square" tIns="72000" anchor="t">
            <a:noAutofit/>
          </a:bodyPr>
          <a:lstStyle>
            <a:lvl1pPr marL="0" indent="0" algn="ctr">
              <a:lnSpc>
                <a:spcPct val="120000"/>
              </a:lnSpc>
              <a:buNone/>
              <a:defRPr sz="1400" b="0" i="0" u="none" strike="noStrike">
                <a:solidFill>
                  <a:schemeClr val="bg1"/>
                </a:solidFill>
                <a:latin typeface="Apis For Office" panose="020B0604020202020204" charset="0"/>
              </a:defRPr>
            </a:lvl1pPr>
          </a:lstStyle>
          <a:p>
            <a:r>
              <a:rPr lang="en-GB"/>
              <a:t>Click here and insert picture via Templafy</a:t>
            </a:r>
          </a:p>
        </p:txBody>
      </p:sp>
      <p:sp>
        <p:nvSpPr>
          <p:cNvPr id="9" name="Picture Placeholder 8">
            <a:extLst>
              <a:ext uri="{FF2B5EF4-FFF2-40B4-BE49-F238E27FC236}">
                <a16:creationId xmlns:a16="http://schemas.microsoft.com/office/drawing/2014/main" id="{F759E7FB-271E-4978-A20B-01A7A7B8075D}"/>
              </a:ext>
            </a:extLst>
          </p:cNvPr>
          <p:cNvSpPr>
            <a:spLocks noGrp="1"/>
          </p:cNvSpPr>
          <p:nvPr>
            <p:ph type="pic" sz="quarter" idx="20" hasCustomPrompt="1"/>
          </p:nvPr>
        </p:nvSpPr>
        <p:spPr>
          <a:xfrm>
            <a:off x="5140325" y="3589487"/>
            <a:ext cx="1914525" cy="2943076"/>
          </a:xfrm>
          <a:solidFill>
            <a:srgbClr val="D4D7DC"/>
          </a:solidFill>
          <a:effectLst/>
        </p:spPr>
        <p:txBody>
          <a:bodyPr vert="horz" wrap="square" tIns="72000" anchor="t">
            <a:noAutofit/>
          </a:bodyPr>
          <a:lstStyle>
            <a:lvl1pPr marL="0" indent="0" algn="ctr">
              <a:lnSpc>
                <a:spcPct val="120000"/>
              </a:lnSpc>
              <a:buNone/>
              <a:defRPr sz="1400" b="0" i="0" u="none" strike="noStrike">
                <a:solidFill>
                  <a:schemeClr val="bg1"/>
                </a:solidFill>
                <a:latin typeface="Apis For Office" panose="020B0604020202020204" charset="0"/>
              </a:defRPr>
            </a:lvl1pPr>
          </a:lstStyle>
          <a:p>
            <a:r>
              <a:rPr lang="en-GB"/>
              <a:t>Click here and insert picture via Templafy</a:t>
            </a:r>
          </a:p>
        </p:txBody>
      </p:sp>
      <p:sp>
        <p:nvSpPr>
          <p:cNvPr id="2" name="Title 1"/>
          <p:cNvSpPr>
            <a:spLocks noGrp="1"/>
          </p:cNvSpPr>
          <p:nvPr>
            <p:ph type="ctrTitle" hasCustomPrompt="1"/>
          </p:nvPr>
        </p:nvSpPr>
        <p:spPr>
          <a:xfrm>
            <a:off x="646006" y="2163600"/>
            <a:ext cx="4165707" cy="2379600"/>
          </a:xfrm>
        </p:spPr>
        <p:txBody>
          <a:bodyPr anchor="ctr"/>
          <a:lstStyle>
            <a:lvl1pPr algn="l">
              <a:lnSpc>
                <a:spcPct val="100000"/>
              </a:lnSpc>
              <a:defRPr sz="4400">
                <a:solidFill>
                  <a:schemeClr val="tx2"/>
                </a:solidFill>
              </a:defRPr>
            </a:lvl1pPr>
          </a:lstStyle>
          <a:p>
            <a:r>
              <a:rPr lang="en-GB"/>
              <a:t>Click to add titl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0" y="6858000"/>
            <a:ext cx="0" cy="0"/>
          </a:xfrm>
        </p:spPr>
        <p:txBody>
          <a:bodyPr/>
          <a:lstStyle>
            <a:lvl1pPr>
              <a:defRPr sz="800" b="1">
                <a:noFill/>
              </a:defRPr>
            </a:lvl1pPr>
          </a:lstStyle>
          <a:p>
            <a:endParaRPr lang="en-GB"/>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813971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a:t>Insert notes</a:t>
            </a:r>
          </a:p>
        </p:txBody>
      </p:sp>
    </p:spTree>
    <p:extLst>
      <p:ext uri="{BB962C8B-B14F-4D97-AF65-F5344CB8AC3E}">
        <p14:creationId xmlns:p14="http://schemas.microsoft.com/office/powerpoint/2010/main" val="3195396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5_C. Cover">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9CFFBD77-CDC2-4D2C-BDF5-AA54A2D5D391}"/>
              </a:ext>
            </a:extLst>
          </p:cNvPr>
          <p:cNvSpPr/>
          <p:nvPr userDrawn="1"/>
        </p:nvSpPr>
        <p:spPr>
          <a:xfrm>
            <a:off x="3177417" y="2468624"/>
            <a:ext cx="9014583" cy="1946276"/>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2" name="Title 1"/>
          <p:cNvSpPr>
            <a:spLocks noGrp="1"/>
          </p:cNvSpPr>
          <p:nvPr>
            <p:ph type="ctrTitle" hasCustomPrompt="1"/>
          </p:nvPr>
        </p:nvSpPr>
        <p:spPr>
          <a:xfrm>
            <a:off x="5831614" y="1932165"/>
            <a:ext cx="5682463" cy="3105000"/>
          </a:xfrm>
        </p:spPr>
        <p:txBody>
          <a:bodyPr bIns="144000" anchor="ctr"/>
          <a:lstStyle>
            <a:lvl1pPr algn="r">
              <a:lnSpc>
                <a:spcPct val="100000"/>
              </a:lnSpc>
              <a:defRPr sz="4400">
                <a:solidFill>
                  <a:srgbClr val="001965"/>
                </a:solidFill>
              </a:defRPr>
            </a:lvl1pPr>
          </a:lstStyle>
          <a:p>
            <a:r>
              <a:rPr lang="en-GB"/>
              <a:t>Click to add title</a:t>
            </a:r>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5" name="TextBox 34">
            <a:extLst>
              <a:ext uri="{FF2B5EF4-FFF2-40B4-BE49-F238E27FC236}">
                <a16:creationId xmlns:a16="http://schemas.microsoft.com/office/drawing/2014/main" id="{75FEF365-59A7-4DF0-8557-17B53D42E339}"/>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a:solidFill>
                  <a:schemeClr val="tx2"/>
                </a:solidFill>
              </a:rPr>
              <a:t>Novo Nordisk</a:t>
            </a:r>
            <a:r>
              <a:rPr lang="en-GB" sz="700" baseline="30000">
                <a:solidFill>
                  <a:schemeClr val="tx2"/>
                </a:solidFill>
              </a:rPr>
              <a:t>®</a:t>
            </a:r>
          </a:p>
        </p:txBody>
      </p:sp>
      <p:grpSp>
        <p:nvGrpSpPr>
          <p:cNvPr id="79" name="Graphic 4">
            <a:extLst>
              <a:ext uri="{FF2B5EF4-FFF2-40B4-BE49-F238E27FC236}">
                <a16:creationId xmlns:a16="http://schemas.microsoft.com/office/drawing/2014/main" id="{EE749912-9852-4484-8534-C65D83C185FA}"/>
              </a:ext>
            </a:extLst>
          </p:cNvPr>
          <p:cNvGrpSpPr/>
          <p:nvPr userDrawn="1"/>
        </p:nvGrpSpPr>
        <p:grpSpPr>
          <a:xfrm>
            <a:off x="677923" y="699657"/>
            <a:ext cx="4123870" cy="5606308"/>
            <a:chOff x="3486855" y="1315631"/>
            <a:chExt cx="3932356" cy="5345950"/>
          </a:xfrm>
          <a:solidFill>
            <a:srgbClr val="3B97DE">
              <a:alpha val="20000"/>
            </a:srgbClr>
          </a:solidFill>
        </p:grpSpPr>
        <p:sp>
          <p:nvSpPr>
            <p:cNvPr id="80" name="Freeform: Shape 79">
              <a:extLst>
                <a:ext uri="{FF2B5EF4-FFF2-40B4-BE49-F238E27FC236}">
                  <a16:creationId xmlns:a16="http://schemas.microsoft.com/office/drawing/2014/main" id="{8293D1DD-D64B-4204-AD6A-7A56477113FD}"/>
                </a:ext>
              </a:extLst>
            </p:cNvPr>
            <p:cNvSpPr/>
            <p:nvPr/>
          </p:nvSpPr>
          <p:spPr>
            <a:xfrm>
              <a:off x="5074728" y="1319212"/>
              <a:ext cx="2344483" cy="1566671"/>
            </a:xfrm>
            <a:custGeom>
              <a:avLst/>
              <a:gdLst>
                <a:gd name="connsiteX0" fmla="*/ 0 w 2344483"/>
                <a:gd name="connsiteY0" fmla="*/ 1566672 h 1566671"/>
                <a:gd name="connsiteX1" fmla="*/ 2344484 w 2344483"/>
                <a:gd name="connsiteY1" fmla="*/ 213169 h 1566671"/>
                <a:gd name="connsiteX2" fmla="*/ 2344484 w 2344483"/>
                <a:gd name="connsiteY2" fmla="*/ 0 h 1566671"/>
                <a:gd name="connsiteX3" fmla="*/ 0 w 2344483"/>
                <a:gd name="connsiteY3" fmla="*/ 1353503 h 1566671"/>
                <a:gd name="connsiteX4" fmla="*/ 0 w 2344483"/>
                <a:gd name="connsiteY4" fmla="*/ 1566672 h 1566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4483" h="1566671">
                  <a:moveTo>
                    <a:pt x="0" y="1566672"/>
                  </a:moveTo>
                  <a:lnTo>
                    <a:pt x="2344484" y="213169"/>
                  </a:lnTo>
                  <a:lnTo>
                    <a:pt x="2344484" y="0"/>
                  </a:lnTo>
                  <a:lnTo>
                    <a:pt x="0" y="1353503"/>
                  </a:lnTo>
                  <a:lnTo>
                    <a:pt x="0" y="1566672"/>
                  </a:lnTo>
                  <a:close/>
                </a:path>
              </a:pathLst>
            </a:custGeom>
            <a:grpFill/>
            <a:ln w="9525"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D3314945-1CD9-46CC-805E-E29C64ADEC69}"/>
                </a:ext>
              </a:extLst>
            </p:cNvPr>
            <p:cNvSpPr/>
            <p:nvPr/>
          </p:nvSpPr>
          <p:spPr>
            <a:xfrm>
              <a:off x="3486855" y="3193716"/>
              <a:ext cx="2344388" cy="1566671"/>
            </a:xfrm>
            <a:custGeom>
              <a:avLst/>
              <a:gdLst>
                <a:gd name="connsiteX0" fmla="*/ 0 w 2344388"/>
                <a:gd name="connsiteY0" fmla="*/ 1566672 h 1566671"/>
                <a:gd name="connsiteX1" fmla="*/ 2344388 w 2344388"/>
                <a:gd name="connsiteY1" fmla="*/ 213074 h 1566671"/>
                <a:gd name="connsiteX2" fmla="*/ 2344388 w 2344388"/>
                <a:gd name="connsiteY2" fmla="*/ 0 h 1566671"/>
                <a:gd name="connsiteX3" fmla="*/ 0 w 2344388"/>
                <a:gd name="connsiteY3" fmla="*/ 1353502 h 1566671"/>
                <a:gd name="connsiteX4" fmla="*/ 0 w 2344388"/>
                <a:gd name="connsiteY4" fmla="*/ 1566672 h 1566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4388" h="1566671">
                  <a:moveTo>
                    <a:pt x="0" y="1566672"/>
                  </a:moveTo>
                  <a:lnTo>
                    <a:pt x="2344388" y="213074"/>
                  </a:lnTo>
                  <a:lnTo>
                    <a:pt x="2344388" y="0"/>
                  </a:lnTo>
                  <a:lnTo>
                    <a:pt x="0" y="1353502"/>
                  </a:lnTo>
                  <a:lnTo>
                    <a:pt x="0" y="1566672"/>
                  </a:lnTo>
                  <a:close/>
                </a:path>
              </a:pathLst>
            </a:custGeom>
            <a:grpFill/>
            <a:ln w="9525"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35CB43BA-8C34-47E9-8EB4-7A68D2D8FD6A}"/>
                </a:ext>
              </a:extLst>
            </p:cNvPr>
            <p:cNvSpPr/>
            <p:nvPr/>
          </p:nvSpPr>
          <p:spPr>
            <a:xfrm>
              <a:off x="5565236" y="3708260"/>
              <a:ext cx="1830895" cy="1195101"/>
            </a:xfrm>
            <a:custGeom>
              <a:avLst/>
              <a:gdLst>
                <a:gd name="connsiteX0" fmla="*/ 0 w 1830895"/>
                <a:gd name="connsiteY0" fmla="*/ 1195102 h 1195101"/>
                <a:gd name="connsiteX1" fmla="*/ 1830896 w 1830895"/>
                <a:gd name="connsiteY1" fmla="*/ 138017 h 1195101"/>
                <a:gd name="connsiteX2" fmla="*/ 1830896 w 1830895"/>
                <a:gd name="connsiteY2" fmla="*/ 0 h 1195101"/>
                <a:gd name="connsiteX3" fmla="*/ 0 w 1830895"/>
                <a:gd name="connsiteY3" fmla="*/ 1057085 h 1195101"/>
                <a:gd name="connsiteX4" fmla="*/ 0 w 1830895"/>
                <a:gd name="connsiteY4" fmla="*/ 1195102 h 1195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895" h="1195101">
                  <a:moveTo>
                    <a:pt x="0" y="1195102"/>
                  </a:moveTo>
                  <a:lnTo>
                    <a:pt x="1830896" y="138017"/>
                  </a:lnTo>
                  <a:lnTo>
                    <a:pt x="1830896" y="0"/>
                  </a:lnTo>
                  <a:lnTo>
                    <a:pt x="0" y="1057085"/>
                  </a:lnTo>
                  <a:lnTo>
                    <a:pt x="0" y="1195102"/>
                  </a:lnTo>
                  <a:close/>
                </a:path>
              </a:pathLst>
            </a:custGeom>
            <a:grpFill/>
            <a:ln w="9525"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82F0B26B-5E1B-4CCD-90CF-8F14B872237B}"/>
                </a:ext>
              </a:extLst>
            </p:cNvPr>
            <p:cNvSpPr/>
            <p:nvPr/>
          </p:nvSpPr>
          <p:spPr>
            <a:xfrm>
              <a:off x="5012296" y="3382927"/>
              <a:ext cx="754380" cy="607504"/>
            </a:xfrm>
            <a:custGeom>
              <a:avLst/>
              <a:gdLst>
                <a:gd name="connsiteX0" fmla="*/ 0 w 754380"/>
                <a:gd name="connsiteY0" fmla="*/ 607505 h 607504"/>
                <a:gd name="connsiteX1" fmla="*/ 754380 w 754380"/>
                <a:gd name="connsiteY1" fmla="*/ 171926 h 607504"/>
                <a:gd name="connsiteX2" fmla="*/ 754380 w 754380"/>
                <a:gd name="connsiteY2" fmla="*/ 0 h 607504"/>
                <a:gd name="connsiteX3" fmla="*/ 0 w 754380"/>
                <a:gd name="connsiteY3" fmla="*/ 435578 h 607504"/>
                <a:gd name="connsiteX4" fmla="*/ 0 w 754380"/>
                <a:gd name="connsiteY4" fmla="*/ 607505 h 607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80" h="607504">
                  <a:moveTo>
                    <a:pt x="0" y="607505"/>
                  </a:moveTo>
                  <a:lnTo>
                    <a:pt x="754380" y="171926"/>
                  </a:lnTo>
                  <a:lnTo>
                    <a:pt x="754380" y="0"/>
                  </a:lnTo>
                  <a:lnTo>
                    <a:pt x="0" y="435578"/>
                  </a:lnTo>
                  <a:lnTo>
                    <a:pt x="0" y="607505"/>
                  </a:lnTo>
                  <a:close/>
                </a:path>
              </a:pathLst>
            </a:custGeom>
            <a:grpFill/>
            <a:ln w="9525"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9263BAB1-E0C3-469B-8029-1386E63CF777}"/>
                </a:ext>
              </a:extLst>
            </p:cNvPr>
            <p:cNvSpPr/>
            <p:nvPr/>
          </p:nvSpPr>
          <p:spPr>
            <a:xfrm>
              <a:off x="5429893" y="5725739"/>
              <a:ext cx="1101280" cy="886967"/>
            </a:xfrm>
            <a:custGeom>
              <a:avLst/>
              <a:gdLst>
                <a:gd name="connsiteX0" fmla="*/ 0 w 1101280"/>
                <a:gd name="connsiteY0" fmla="*/ 886968 h 886967"/>
                <a:gd name="connsiteX1" fmla="*/ 1101281 w 1101280"/>
                <a:gd name="connsiteY1" fmla="*/ 251079 h 886967"/>
                <a:gd name="connsiteX2" fmla="*/ 1101281 w 1101280"/>
                <a:gd name="connsiteY2" fmla="*/ 0 h 886967"/>
                <a:gd name="connsiteX3" fmla="*/ 0 w 1101280"/>
                <a:gd name="connsiteY3" fmla="*/ 635889 h 886967"/>
                <a:gd name="connsiteX4" fmla="*/ 0 w 1101280"/>
                <a:gd name="connsiteY4" fmla="*/ 886968 h 886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280" h="886967">
                  <a:moveTo>
                    <a:pt x="0" y="886968"/>
                  </a:moveTo>
                  <a:lnTo>
                    <a:pt x="1101281" y="251079"/>
                  </a:lnTo>
                  <a:lnTo>
                    <a:pt x="1101281" y="0"/>
                  </a:lnTo>
                  <a:lnTo>
                    <a:pt x="0" y="635889"/>
                  </a:lnTo>
                  <a:lnTo>
                    <a:pt x="0" y="886968"/>
                  </a:lnTo>
                  <a:close/>
                </a:path>
              </a:pathLst>
            </a:custGeom>
            <a:grpFill/>
            <a:ln w="9525"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3A9DBB81-861E-41F7-8809-8E0872CF7DCE}"/>
                </a:ext>
              </a:extLst>
            </p:cNvPr>
            <p:cNvSpPr/>
            <p:nvPr/>
          </p:nvSpPr>
          <p:spPr>
            <a:xfrm>
              <a:off x="3525882" y="3135595"/>
              <a:ext cx="465391" cy="374808"/>
            </a:xfrm>
            <a:custGeom>
              <a:avLst/>
              <a:gdLst>
                <a:gd name="connsiteX0" fmla="*/ 0 w 465391"/>
                <a:gd name="connsiteY0" fmla="*/ 374809 h 374808"/>
                <a:gd name="connsiteX1" fmla="*/ 465392 w 465391"/>
                <a:gd name="connsiteY1" fmla="*/ 106013 h 374808"/>
                <a:gd name="connsiteX2" fmla="*/ 465392 w 465391"/>
                <a:gd name="connsiteY2" fmla="*/ 0 h 374808"/>
                <a:gd name="connsiteX3" fmla="*/ 0 w 465391"/>
                <a:gd name="connsiteY3" fmla="*/ 268700 h 374808"/>
                <a:gd name="connsiteX4" fmla="*/ 0 w 465391"/>
                <a:gd name="connsiteY4" fmla="*/ 374809 h 37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391" h="374808">
                  <a:moveTo>
                    <a:pt x="0" y="374809"/>
                  </a:moveTo>
                  <a:lnTo>
                    <a:pt x="465392" y="106013"/>
                  </a:lnTo>
                  <a:lnTo>
                    <a:pt x="465392" y="0"/>
                  </a:lnTo>
                  <a:lnTo>
                    <a:pt x="0" y="268700"/>
                  </a:lnTo>
                  <a:lnTo>
                    <a:pt x="0" y="374809"/>
                  </a:lnTo>
                  <a:close/>
                </a:path>
              </a:pathLst>
            </a:custGeom>
            <a:grpFill/>
            <a:ln w="9525"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5768852C-B6A0-4B8E-BE8D-800D200FC596}"/>
                </a:ext>
              </a:extLst>
            </p:cNvPr>
            <p:cNvSpPr/>
            <p:nvPr/>
          </p:nvSpPr>
          <p:spPr>
            <a:xfrm>
              <a:off x="5272805" y="4199032"/>
              <a:ext cx="233362" cy="260604"/>
            </a:xfrm>
            <a:custGeom>
              <a:avLst/>
              <a:gdLst>
                <a:gd name="connsiteX0" fmla="*/ 0 w 233362"/>
                <a:gd name="connsiteY0" fmla="*/ 134779 h 260604"/>
                <a:gd name="connsiteX1" fmla="*/ 0 w 233362"/>
                <a:gd name="connsiteY1" fmla="*/ 260604 h 260604"/>
                <a:gd name="connsiteX2" fmla="*/ 233363 w 233362"/>
                <a:gd name="connsiteY2" fmla="*/ 125825 h 260604"/>
                <a:gd name="connsiteX3" fmla="*/ 233363 w 233362"/>
                <a:gd name="connsiteY3" fmla="*/ 0 h 260604"/>
                <a:gd name="connsiteX4" fmla="*/ 0 w 233362"/>
                <a:gd name="connsiteY4" fmla="*/ 134779 h 260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62" h="260604">
                  <a:moveTo>
                    <a:pt x="0" y="134779"/>
                  </a:moveTo>
                  <a:lnTo>
                    <a:pt x="0" y="260604"/>
                  </a:lnTo>
                  <a:lnTo>
                    <a:pt x="233363" y="125825"/>
                  </a:lnTo>
                  <a:lnTo>
                    <a:pt x="233363" y="0"/>
                  </a:lnTo>
                  <a:lnTo>
                    <a:pt x="0" y="134779"/>
                  </a:lnTo>
                  <a:close/>
                </a:path>
              </a:pathLst>
            </a:custGeom>
            <a:grpFill/>
            <a:ln w="9525"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8599FE9E-F246-4845-A3FC-87F643BCCDAF}"/>
                </a:ext>
              </a:extLst>
            </p:cNvPr>
            <p:cNvSpPr/>
            <p:nvPr/>
          </p:nvSpPr>
          <p:spPr>
            <a:xfrm>
              <a:off x="5571362" y="2768631"/>
              <a:ext cx="171354" cy="205073"/>
            </a:xfrm>
            <a:custGeom>
              <a:avLst/>
              <a:gdLst>
                <a:gd name="connsiteX0" fmla="*/ 0 w 171354"/>
                <a:gd name="connsiteY0" fmla="*/ 205073 h 205073"/>
                <a:gd name="connsiteX1" fmla="*/ 171355 w 171354"/>
                <a:gd name="connsiteY1" fmla="*/ 106108 h 205073"/>
                <a:gd name="connsiteX2" fmla="*/ 171355 w 171354"/>
                <a:gd name="connsiteY2" fmla="*/ 0 h 205073"/>
                <a:gd name="connsiteX3" fmla="*/ 0 w 171354"/>
                <a:gd name="connsiteY3" fmla="*/ 98965 h 205073"/>
                <a:gd name="connsiteX4" fmla="*/ 0 w 171354"/>
                <a:gd name="connsiteY4" fmla="*/ 205073 h 205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54" h="205073">
                  <a:moveTo>
                    <a:pt x="0" y="205073"/>
                  </a:moveTo>
                  <a:lnTo>
                    <a:pt x="171355" y="106108"/>
                  </a:lnTo>
                  <a:lnTo>
                    <a:pt x="171355" y="0"/>
                  </a:lnTo>
                  <a:lnTo>
                    <a:pt x="0" y="98965"/>
                  </a:lnTo>
                  <a:lnTo>
                    <a:pt x="0" y="205073"/>
                  </a:lnTo>
                  <a:close/>
                </a:path>
              </a:pathLst>
            </a:custGeom>
            <a:grpFill/>
            <a:ln w="9525"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4AD52CD0-0AAC-4B6A-82A6-8C6F3B2C5C8F}"/>
                </a:ext>
              </a:extLst>
            </p:cNvPr>
            <p:cNvSpPr/>
            <p:nvPr/>
          </p:nvSpPr>
          <p:spPr>
            <a:xfrm>
              <a:off x="4155947" y="5826196"/>
              <a:ext cx="171450" cy="205073"/>
            </a:xfrm>
            <a:custGeom>
              <a:avLst/>
              <a:gdLst>
                <a:gd name="connsiteX0" fmla="*/ 0 w 171450"/>
                <a:gd name="connsiteY0" fmla="*/ 205073 h 205073"/>
                <a:gd name="connsiteX1" fmla="*/ 171450 w 171450"/>
                <a:gd name="connsiteY1" fmla="*/ 106108 h 205073"/>
                <a:gd name="connsiteX2" fmla="*/ 171450 w 171450"/>
                <a:gd name="connsiteY2" fmla="*/ 0 h 205073"/>
                <a:gd name="connsiteX3" fmla="*/ 0 w 171450"/>
                <a:gd name="connsiteY3" fmla="*/ 98965 h 205073"/>
                <a:gd name="connsiteX4" fmla="*/ 0 w 171450"/>
                <a:gd name="connsiteY4" fmla="*/ 205073 h 205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05073">
                  <a:moveTo>
                    <a:pt x="0" y="205073"/>
                  </a:moveTo>
                  <a:lnTo>
                    <a:pt x="171450" y="106108"/>
                  </a:lnTo>
                  <a:lnTo>
                    <a:pt x="171450" y="0"/>
                  </a:lnTo>
                  <a:lnTo>
                    <a:pt x="0" y="98965"/>
                  </a:lnTo>
                  <a:lnTo>
                    <a:pt x="0" y="205073"/>
                  </a:lnTo>
                  <a:close/>
                </a:path>
              </a:pathLst>
            </a:custGeom>
            <a:grpFill/>
            <a:ln w="9525"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740ACE17-73FF-437D-B294-AC4B02648B17}"/>
                </a:ext>
              </a:extLst>
            </p:cNvPr>
            <p:cNvSpPr/>
            <p:nvPr/>
          </p:nvSpPr>
          <p:spPr>
            <a:xfrm>
              <a:off x="3802204" y="1315631"/>
              <a:ext cx="565784" cy="432815"/>
            </a:xfrm>
            <a:custGeom>
              <a:avLst/>
              <a:gdLst>
                <a:gd name="connsiteX0" fmla="*/ 0 w 565784"/>
                <a:gd name="connsiteY0" fmla="*/ 432816 h 432815"/>
                <a:gd name="connsiteX1" fmla="*/ 565785 w 565784"/>
                <a:gd name="connsiteY1" fmla="*/ 106108 h 432815"/>
                <a:gd name="connsiteX2" fmla="*/ 565785 w 565784"/>
                <a:gd name="connsiteY2" fmla="*/ 0 h 432815"/>
                <a:gd name="connsiteX3" fmla="*/ 0 w 565784"/>
                <a:gd name="connsiteY3" fmla="*/ 326707 h 432815"/>
                <a:gd name="connsiteX4" fmla="*/ 0 w 565784"/>
                <a:gd name="connsiteY4" fmla="*/ 432816 h 432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784" h="432815">
                  <a:moveTo>
                    <a:pt x="0" y="432816"/>
                  </a:moveTo>
                  <a:lnTo>
                    <a:pt x="565785" y="106108"/>
                  </a:lnTo>
                  <a:lnTo>
                    <a:pt x="565785" y="0"/>
                  </a:lnTo>
                  <a:lnTo>
                    <a:pt x="0" y="326707"/>
                  </a:lnTo>
                  <a:lnTo>
                    <a:pt x="0" y="432816"/>
                  </a:lnTo>
                  <a:close/>
                </a:path>
              </a:pathLst>
            </a:custGeom>
            <a:grpFill/>
            <a:ln w="9525"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4F732ED4-3CCE-4DCD-A54E-6DC4D6E7E917}"/>
                </a:ext>
              </a:extLst>
            </p:cNvPr>
            <p:cNvSpPr/>
            <p:nvPr/>
          </p:nvSpPr>
          <p:spPr>
            <a:xfrm>
              <a:off x="3900548" y="6342399"/>
              <a:ext cx="369093" cy="319182"/>
            </a:xfrm>
            <a:custGeom>
              <a:avLst/>
              <a:gdLst>
                <a:gd name="connsiteX0" fmla="*/ 0 w 369093"/>
                <a:gd name="connsiteY0" fmla="*/ 319183 h 319182"/>
                <a:gd name="connsiteX1" fmla="*/ 369094 w 369093"/>
                <a:gd name="connsiteY1" fmla="*/ 106108 h 319182"/>
                <a:gd name="connsiteX2" fmla="*/ 369094 w 369093"/>
                <a:gd name="connsiteY2" fmla="*/ 0 h 319182"/>
                <a:gd name="connsiteX3" fmla="*/ 0 w 369093"/>
                <a:gd name="connsiteY3" fmla="*/ 213074 h 319182"/>
                <a:gd name="connsiteX4" fmla="*/ 0 w 369093"/>
                <a:gd name="connsiteY4" fmla="*/ 319183 h 319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93" h="319182">
                  <a:moveTo>
                    <a:pt x="0" y="319183"/>
                  </a:moveTo>
                  <a:lnTo>
                    <a:pt x="369094" y="106108"/>
                  </a:lnTo>
                  <a:lnTo>
                    <a:pt x="369094" y="0"/>
                  </a:lnTo>
                  <a:lnTo>
                    <a:pt x="0" y="213074"/>
                  </a:lnTo>
                  <a:lnTo>
                    <a:pt x="0" y="319183"/>
                  </a:lnTo>
                  <a:close/>
                </a:path>
              </a:pathLst>
            </a:custGeom>
            <a:grpFill/>
            <a:ln w="9525"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563E3EA8-08F8-4FAB-8180-2EA2BC051359}"/>
                </a:ext>
              </a:extLst>
            </p:cNvPr>
            <p:cNvSpPr/>
            <p:nvPr/>
          </p:nvSpPr>
          <p:spPr>
            <a:xfrm>
              <a:off x="4155947" y="1769839"/>
              <a:ext cx="1323308" cy="1081754"/>
            </a:xfrm>
            <a:custGeom>
              <a:avLst/>
              <a:gdLst>
                <a:gd name="connsiteX0" fmla="*/ 0 w 1323308"/>
                <a:gd name="connsiteY0" fmla="*/ 1081754 h 1081754"/>
                <a:gd name="connsiteX1" fmla="*/ 1323308 w 1323308"/>
                <a:gd name="connsiteY1" fmla="*/ 317754 h 1081754"/>
                <a:gd name="connsiteX2" fmla="*/ 1323308 w 1323308"/>
                <a:gd name="connsiteY2" fmla="*/ 0 h 1081754"/>
                <a:gd name="connsiteX3" fmla="*/ 0 w 1323308"/>
                <a:gd name="connsiteY3" fmla="*/ 764096 h 1081754"/>
                <a:gd name="connsiteX4" fmla="*/ 0 w 1323308"/>
                <a:gd name="connsiteY4" fmla="*/ 1081754 h 1081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308" h="1081754">
                  <a:moveTo>
                    <a:pt x="0" y="1081754"/>
                  </a:moveTo>
                  <a:lnTo>
                    <a:pt x="1323308" y="317754"/>
                  </a:lnTo>
                  <a:lnTo>
                    <a:pt x="1323308" y="0"/>
                  </a:lnTo>
                  <a:lnTo>
                    <a:pt x="0" y="764096"/>
                  </a:lnTo>
                  <a:lnTo>
                    <a:pt x="0" y="1081754"/>
                  </a:lnTo>
                  <a:close/>
                </a:path>
              </a:pathLst>
            </a:custGeom>
            <a:grpFill/>
            <a:ln w="9525"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CDC61426-CF33-4A82-A1F5-40C3600A0DAC}"/>
                </a:ext>
              </a:extLst>
            </p:cNvPr>
            <p:cNvSpPr/>
            <p:nvPr/>
          </p:nvSpPr>
          <p:spPr>
            <a:xfrm>
              <a:off x="4392739" y="2597848"/>
              <a:ext cx="365093" cy="316801"/>
            </a:xfrm>
            <a:custGeom>
              <a:avLst/>
              <a:gdLst>
                <a:gd name="connsiteX0" fmla="*/ 365093 w 365093"/>
                <a:gd name="connsiteY0" fmla="*/ 0 h 316801"/>
                <a:gd name="connsiteX1" fmla="*/ 0 w 365093"/>
                <a:gd name="connsiteY1" fmla="*/ 210693 h 316801"/>
                <a:gd name="connsiteX2" fmla="*/ 0 w 365093"/>
                <a:gd name="connsiteY2" fmla="*/ 316801 h 316801"/>
                <a:gd name="connsiteX3" fmla="*/ 365093 w 365093"/>
                <a:gd name="connsiteY3" fmla="*/ 106108 h 316801"/>
                <a:gd name="connsiteX4" fmla="*/ 365093 w 365093"/>
                <a:gd name="connsiteY4" fmla="*/ 0 h 316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093" h="316801">
                  <a:moveTo>
                    <a:pt x="365093" y="0"/>
                  </a:moveTo>
                  <a:lnTo>
                    <a:pt x="0" y="210693"/>
                  </a:lnTo>
                  <a:lnTo>
                    <a:pt x="0" y="316801"/>
                  </a:lnTo>
                  <a:lnTo>
                    <a:pt x="365093" y="106108"/>
                  </a:lnTo>
                  <a:lnTo>
                    <a:pt x="365093" y="0"/>
                  </a:lnTo>
                  <a:close/>
                </a:path>
              </a:pathLst>
            </a:custGeom>
            <a:grpFill/>
            <a:ln w="9525"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95443CDC-72AD-43FF-813A-E65CB91A42A5}"/>
                </a:ext>
              </a:extLst>
            </p:cNvPr>
            <p:cNvSpPr/>
            <p:nvPr/>
          </p:nvSpPr>
          <p:spPr>
            <a:xfrm>
              <a:off x="6743886" y="2360312"/>
              <a:ext cx="364998" cy="316801"/>
            </a:xfrm>
            <a:custGeom>
              <a:avLst/>
              <a:gdLst>
                <a:gd name="connsiteX0" fmla="*/ 364998 w 364998"/>
                <a:gd name="connsiteY0" fmla="*/ 0 h 316801"/>
                <a:gd name="connsiteX1" fmla="*/ 0 w 364998"/>
                <a:gd name="connsiteY1" fmla="*/ 210693 h 316801"/>
                <a:gd name="connsiteX2" fmla="*/ 0 w 364998"/>
                <a:gd name="connsiteY2" fmla="*/ 316802 h 316801"/>
                <a:gd name="connsiteX3" fmla="*/ 364998 w 364998"/>
                <a:gd name="connsiteY3" fmla="*/ 106109 h 316801"/>
                <a:gd name="connsiteX4" fmla="*/ 364998 w 364998"/>
                <a:gd name="connsiteY4" fmla="*/ 0 h 316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98" h="316801">
                  <a:moveTo>
                    <a:pt x="364998" y="0"/>
                  </a:moveTo>
                  <a:lnTo>
                    <a:pt x="0" y="210693"/>
                  </a:lnTo>
                  <a:lnTo>
                    <a:pt x="0" y="316802"/>
                  </a:lnTo>
                  <a:lnTo>
                    <a:pt x="364998" y="106109"/>
                  </a:lnTo>
                  <a:lnTo>
                    <a:pt x="364998" y="0"/>
                  </a:lnTo>
                  <a:close/>
                </a:path>
              </a:pathLst>
            </a:custGeom>
            <a:grpFill/>
            <a:ln w="9525"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9C4039A8-D416-4483-B07B-3084BD7E61C3}"/>
                </a:ext>
              </a:extLst>
            </p:cNvPr>
            <p:cNvSpPr/>
            <p:nvPr/>
          </p:nvSpPr>
          <p:spPr>
            <a:xfrm>
              <a:off x="4228954" y="5169610"/>
              <a:ext cx="1027461" cy="925448"/>
            </a:xfrm>
            <a:custGeom>
              <a:avLst/>
              <a:gdLst>
                <a:gd name="connsiteX0" fmla="*/ 1027462 w 1027461"/>
                <a:gd name="connsiteY0" fmla="*/ 0 h 925448"/>
                <a:gd name="connsiteX1" fmla="*/ 0 w 1027461"/>
                <a:gd name="connsiteY1" fmla="*/ 593217 h 925448"/>
                <a:gd name="connsiteX2" fmla="*/ 0 w 1027461"/>
                <a:gd name="connsiteY2" fmla="*/ 925449 h 925448"/>
                <a:gd name="connsiteX3" fmla="*/ 1027462 w 1027461"/>
                <a:gd name="connsiteY3" fmla="*/ 332232 h 925448"/>
                <a:gd name="connsiteX4" fmla="*/ 1027462 w 1027461"/>
                <a:gd name="connsiteY4" fmla="*/ 0 h 925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461" h="925448">
                  <a:moveTo>
                    <a:pt x="1027462" y="0"/>
                  </a:moveTo>
                  <a:lnTo>
                    <a:pt x="0" y="593217"/>
                  </a:lnTo>
                  <a:lnTo>
                    <a:pt x="0" y="925449"/>
                  </a:lnTo>
                  <a:lnTo>
                    <a:pt x="1027462" y="332232"/>
                  </a:lnTo>
                  <a:lnTo>
                    <a:pt x="1027462" y="0"/>
                  </a:lnTo>
                  <a:close/>
                </a:path>
              </a:pathLst>
            </a:custGeom>
            <a:grpFill/>
            <a:ln w="9525" cap="flat">
              <a:no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A92F1112-B7DD-476B-AE88-20E425334A33}"/>
                </a:ext>
              </a:extLst>
            </p:cNvPr>
            <p:cNvSpPr/>
            <p:nvPr/>
          </p:nvSpPr>
          <p:spPr>
            <a:xfrm>
              <a:off x="5884162" y="5455195"/>
              <a:ext cx="884205" cy="723614"/>
            </a:xfrm>
            <a:custGeom>
              <a:avLst/>
              <a:gdLst>
                <a:gd name="connsiteX0" fmla="*/ 0 w 884205"/>
                <a:gd name="connsiteY0" fmla="*/ 510445 h 723614"/>
                <a:gd name="connsiteX1" fmla="*/ 0 w 884205"/>
                <a:gd name="connsiteY1" fmla="*/ 723614 h 723614"/>
                <a:gd name="connsiteX2" fmla="*/ 884206 w 884205"/>
                <a:gd name="connsiteY2" fmla="*/ 213170 h 723614"/>
                <a:gd name="connsiteX3" fmla="*/ 884206 w 884205"/>
                <a:gd name="connsiteY3" fmla="*/ 0 h 723614"/>
                <a:gd name="connsiteX4" fmla="*/ 0 w 884205"/>
                <a:gd name="connsiteY4" fmla="*/ 510445 h 7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05" h="723614">
                  <a:moveTo>
                    <a:pt x="0" y="510445"/>
                  </a:moveTo>
                  <a:lnTo>
                    <a:pt x="0" y="723614"/>
                  </a:lnTo>
                  <a:lnTo>
                    <a:pt x="884206" y="213170"/>
                  </a:lnTo>
                  <a:lnTo>
                    <a:pt x="884206" y="0"/>
                  </a:lnTo>
                  <a:lnTo>
                    <a:pt x="0" y="510445"/>
                  </a:lnTo>
                  <a:close/>
                </a:path>
              </a:pathLst>
            </a:custGeom>
            <a:grpFill/>
            <a:ln w="9525" cap="flat">
              <a:no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AA607600-8177-448E-9A1D-EB104284F93F}"/>
                </a:ext>
              </a:extLst>
            </p:cNvPr>
            <p:cNvSpPr/>
            <p:nvPr userDrawn="1"/>
          </p:nvSpPr>
          <p:spPr>
            <a:xfrm>
              <a:off x="3645786" y="3930700"/>
              <a:ext cx="754380" cy="607504"/>
            </a:xfrm>
            <a:custGeom>
              <a:avLst/>
              <a:gdLst>
                <a:gd name="connsiteX0" fmla="*/ 0 w 754380"/>
                <a:gd name="connsiteY0" fmla="*/ 607505 h 607504"/>
                <a:gd name="connsiteX1" fmla="*/ 754380 w 754380"/>
                <a:gd name="connsiteY1" fmla="*/ 171926 h 607504"/>
                <a:gd name="connsiteX2" fmla="*/ 754380 w 754380"/>
                <a:gd name="connsiteY2" fmla="*/ 0 h 607504"/>
                <a:gd name="connsiteX3" fmla="*/ 0 w 754380"/>
                <a:gd name="connsiteY3" fmla="*/ 435578 h 607504"/>
                <a:gd name="connsiteX4" fmla="*/ 0 w 754380"/>
                <a:gd name="connsiteY4" fmla="*/ 607505 h 607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80" h="607504">
                  <a:moveTo>
                    <a:pt x="0" y="607505"/>
                  </a:moveTo>
                  <a:lnTo>
                    <a:pt x="754380" y="171926"/>
                  </a:lnTo>
                  <a:lnTo>
                    <a:pt x="754380" y="0"/>
                  </a:lnTo>
                  <a:lnTo>
                    <a:pt x="0" y="435578"/>
                  </a:lnTo>
                  <a:lnTo>
                    <a:pt x="0" y="607505"/>
                  </a:lnTo>
                  <a:close/>
                </a:path>
              </a:pathLst>
            </a:custGeom>
            <a:grpFill/>
            <a:ln w="9525" cap="flat">
              <a:no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4F47FB0A-C0D2-46F8-B6BD-7379F9A98DF3}"/>
                </a:ext>
              </a:extLst>
            </p:cNvPr>
            <p:cNvSpPr/>
            <p:nvPr userDrawn="1"/>
          </p:nvSpPr>
          <p:spPr>
            <a:xfrm>
              <a:off x="3579551" y="5106440"/>
              <a:ext cx="565784" cy="432815"/>
            </a:xfrm>
            <a:custGeom>
              <a:avLst/>
              <a:gdLst>
                <a:gd name="connsiteX0" fmla="*/ 0 w 565784"/>
                <a:gd name="connsiteY0" fmla="*/ 432816 h 432815"/>
                <a:gd name="connsiteX1" fmla="*/ 565785 w 565784"/>
                <a:gd name="connsiteY1" fmla="*/ 106108 h 432815"/>
                <a:gd name="connsiteX2" fmla="*/ 565785 w 565784"/>
                <a:gd name="connsiteY2" fmla="*/ 0 h 432815"/>
                <a:gd name="connsiteX3" fmla="*/ 0 w 565784"/>
                <a:gd name="connsiteY3" fmla="*/ 326707 h 432815"/>
                <a:gd name="connsiteX4" fmla="*/ 0 w 565784"/>
                <a:gd name="connsiteY4" fmla="*/ 432816 h 432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784" h="432815">
                  <a:moveTo>
                    <a:pt x="0" y="432816"/>
                  </a:moveTo>
                  <a:lnTo>
                    <a:pt x="565785" y="106108"/>
                  </a:lnTo>
                  <a:lnTo>
                    <a:pt x="565785" y="0"/>
                  </a:lnTo>
                  <a:lnTo>
                    <a:pt x="0" y="326707"/>
                  </a:lnTo>
                  <a:lnTo>
                    <a:pt x="0" y="432816"/>
                  </a:lnTo>
                  <a:close/>
                </a:path>
              </a:pathLst>
            </a:custGeom>
            <a:grpFill/>
            <a:ln w="9525" cap="flat">
              <a:noFill/>
              <a:prstDash val="solid"/>
              <a:miter/>
            </a:ln>
          </p:spPr>
          <p:txBody>
            <a:bodyPr rtlCol="0" anchor="ctr"/>
            <a:lstStyle/>
            <a:p>
              <a:endParaRPr lang="en-GB"/>
            </a:p>
          </p:txBody>
        </p:sp>
      </p:grpSp>
      <p:grpSp>
        <p:nvGrpSpPr>
          <p:cNvPr id="15" name="Group 14">
            <a:extLst>
              <a:ext uri="{FF2B5EF4-FFF2-40B4-BE49-F238E27FC236}">
                <a16:creationId xmlns:a16="http://schemas.microsoft.com/office/drawing/2014/main" id="{BDF44BB0-E964-431C-94F2-89181A36B9C6}"/>
              </a:ext>
            </a:extLst>
          </p:cNvPr>
          <p:cNvGrpSpPr/>
          <p:nvPr userDrawn="1"/>
        </p:nvGrpSpPr>
        <p:grpSpPr>
          <a:xfrm>
            <a:off x="7657524" y="2384127"/>
            <a:ext cx="3926881" cy="175075"/>
            <a:chOff x="7657524" y="1843869"/>
            <a:chExt cx="3926881" cy="175075"/>
          </a:xfrm>
        </p:grpSpPr>
        <p:cxnSp>
          <p:nvCxnSpPr>
            <p:cNvPr id="103" name="Straight Connector 102">
              <a:extLst>
                <a:ext uri="{FF2B5EF4-FFF2-40B4-BE49-F238E27FC236}">
                  <a16:creationId xmlns:a16="http://schemas.microsoft.com/office/drawing/2014/main" id="{2A392C04-985C-4C5D-8B1C-3E26E0240FFD}"/>
                </a:ext>
              </a:extLst>
            </p:cNvPr>
            <p:cNvCxnSpPr/>
            <p:nvPr userDrawn="1"/>
          </p:nvCxnSpPr>
          <p:spPr>
            <a:xfrm>
              <a:off x="7657524" y="1932165"/>
              <a:ext cx="3911940" cy="0"/>
            </a:xfrm>
            <a:prstGeom prst="line">
              <a:avLst/>
            </a:prstGeom>
            <a:ln w="12700">
              <a:solidFill>
                <a:srgbClr val="3B97DE"/>
              </a:solidFill>
              <a:prstDash val="dash"/>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64488099-3204-4331-95FE-0EF61A3834E1}"/>
                </a:ext>
              </a:extLst>
            </p:cNvPr>
            <p:cNvSpPr/>
            <p:nvPr userDrawn="1"/>
          </p:nvSpPr>
          <p:spPr>
            <a:xfrm>
              <a:off x="11409330" y="1843869"/>
              <a:ext cx="175075" cy="175075"/>
            </a:xfrm>
            <a:prstGeom prst="ellipse">
              <a:avLst/>
            </a:prstGeom>
            <a:solidFill>
              <a:srgbClr val="3B97D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grpSp>
      <p:grpSp>
        <p:nvGrpSpPr>
          <p:cNvPr id="17" name="Group 16">
            <a:extLst>
              <a:ext uri="{FF2B5EF4-FFF2-40B4-BE49-F238E27FC236}">
                <a16:creationId xmlns:a16="http://schemas.microsoft.com/office/drawing/2014/main" id="{481B42BE-2DA4-4664-A930-C10F86D1BCF3}"/>
              </a:ext>
            </a:extLst>
          </p:cNvPr>
          <p:cNvGrpSpPr/>
          <p:nvPr userDrawn="1"/>
        </p:nvGrpSpPr>
        <p:grpSpPr>
          <a:xfrm>
            <a:off x="842959" y="1941744"/>
            <a:ext cx="3289300" cy="3286642"/>
            <a:chOff x="741861" y="1778464"/>
            <a:chExt cx="3289300" cy="3286642"/>
          </a:xfrm>
        </p:grpSpPr>
        <p:sp>
          <p:nvSpPr>
            <p:cNvPr id="108" name="Oval 107">
              <a:extLst>
                <a:ext uri="{FF2B5EF4-FFF2-40B4-BE49-F238E27FC236}">
                  <a16:creationId xmlns:a16="http://schemas.microsoft.com/office/drawing/2014/main" id="{80B96FCD-4673-4B2E-A70D-CB4333E66FE3}"/>
                </a:ext>
              </a:extLst>
            </p:cNvPr>
            <p:cNvSpPr/>
            <p:nvPr userDrawn="1"/>
          </p:nvSpPr>
          <p:spPr>
            <a:xfrm>
              <a:off x="741861" y="1778464"/>
              <a:ext cx="3289300" cy="3286642"/>
            </a:xfrm>
            <a:prstGeom prst="ellipse">
              <a:avLst/>
            </a:prstGeom>
            <a:solidFill>
              <a:schemeClr val="bg1"/>
            </a:solidFill>
            <a:ln>
              <a:solidFill>
                <a:srgbClr val="3B97D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sp>
          <p:nvSpPr>
            <p:cNvPr id="109" name="Partial Circle 108">
              <a:extLst>
                <a:ext uri="{FF2B5EF4-FFF2-40B4-BE49-F238E27FC236}">
                  <a16:creationId xmlns:a16="http://schemas.microsoft.com/office/drawing/2014/main" id="{7EB6E6DE-0790-4A99-9A31-EB19D366C4F5}"/>
                </a:ext>
              </a:extLst>
            </p:cNvPr>
            <p:cNvSpPr/>
            <p:nvPr userDrawn="1"/>
          </p:nvSpPr>
          <p:spPr>
            <a:xfrm>
              <a:off x="741861" y="1778464"/>
              <a:ext cx="3289300" cy="3286642"/>
            </a:xfrm>
            <a:prstGeom prst="pie">
              <a:avLst>
                <a:gd name="adj1" fmla="val 20311583"/>
                <a:gd name="adj2" fmla="val 9387400"/>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Apis For Office"/>
                <a:ea typeface="+mn-ea"/>
                <a:cs typeface="+mn-cs"/>
              </a:endParaRPr>
            </a:p>
          </p:txBody>
        </p:sp>
        <p:sp>
          <p:nvSpPr>
            <p:cNvPr id="107" name="Oval 106">
              <a:extLst>
                <a:ext uri="{FF2B5EF4-FFF2-40B4-BE49-F238E27FC236}">
                  <a16:creationId xmlns:a16="http://schemas.microsoft.com/office/drawing/2014/main" id="{F1D9D746-7D2E-45D3-AD6D-AA493A30E72E}"/>
                </a:ext>
              </a:extLst>
            </p:cNvPr>
            <p:cNvSpPr/>
            <p:nvPr userDrawn="1"/>
          </p:nvSpPr>
          <p:spPr>
            <a:xfrm>
              <a:off x="1027296" y="2063669"/>
              <a:ext cx="2718430" cy="2716233"/>
            </a:xfrm>
            <a:prstGeom prst="ellipse">
              <a:avLst/>
            </a:prstGeom>
            <a:solidFill>
              <a:schemeClr val="bg1"/>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pis For Office"/>
                <a:ea typeface="+mn-ea"/>
                <a:cs typeface="+mn-cs"/>
              </a:endParaRPr>
            </a:p>
          </p:txBody>
        </p:sp>
      </p:grpSp>
      <p:sp>
        <p:nvSpPr>
          <p:cNvPr id="4" name="Freeform 83">
            <a:hlinkClick r:id="" action="ppaction://hlinkshowjump?jump=nextslide"/>
            <a:extLst>
              <a:ext uri="{FF2B5EF4-FFF2-40B4-BE49-F238E27FC236}">
                <a16:creationId xmlns:a16="http://schemas.microsoft.com/office/drawing/2014/main" id="{D9BC0867-1A91-EA51-3A6B-9FFD6403CB09}"/>
              </a:ext>
            </a:extLst>
          </p:cNvPr>
          <p:cNvSpPr>
            <a:spLocks/>
          </p:cNvSpPr>
          <p:nvPr userDrawn="1"/>
        </p:nvSpPr>
        <p:spPr bwMode="auto">
          <a:xfrm>
            <a:off x="11828105" y="5620574"/>
            <a:ext cx="101957" cy="190498"/>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84">
            <a:hlinkClick r:id="" action="ppaction://hlinkshowjump?jump=nextslide"/>
            <a:extLst>
              <a:ext uri="{FF2B5EF4-FFF2-40B4-BE49-F238E27FC236}">
                <a16:creationId xmlns:a16="http://schemas.microsoft.com/office/drawing/2014/main" id="{25AC10DD-1E46-9262-7867-5F33DDF973B5}"/>
              </a:ext>
            </a:extLst>
          </p:cNvPr>
          <p:cNvSpPr>
            <a:spLocks noEditPoints="1"/>
          </p:cNvSpPr>
          <p:nvPr userDrawn="1"/>
        </p:nvSpPr>
        <p:spPr bwMode="auto">
          <a:xfrm>
            <a:off x="11720782" y="5564229"/>
            <a:ext cx="304082" cy="3040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3">
            <a:hlinkClick r:id="" action="ppaction://hlinkshowjump?jump=previousslide"/>
            <a:extLst>
              <a:ext uri="{FF2B5EF4-FFF2-40B4-BE49-F238E27FC236}">
                <a16:creationId xmlns:a16="http://schemas.microsoft.com/office/drawing/2014/main" id="{2D58F47C-E104-562D-E83F-C5D3692F6FD5}"/>
              </a:ext>
            </a:extLst>
          </p:cNvPr>
          <p:cNvSpPr>
            <a:spLocks/>
          </p:cNvSpPr>
          <p:nvPr userDrawn="1"/>
        </p:nvSpPr>
        <p:spPr bwMode="auto">
          <a:xfrm rot="10800000">
            <a:off x="11815584" y="5193518"/>
            <a:ext cx="101957" cy="190498"/>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84">
            <a:hlinkClick r:id="" action="ppaction://hlinkshowjump?jump=previousslide"/>
            <a:extLst>
              <a:ext uri="{FF2B5EF4-FFF2-40B4-BE49-F238E27FC236}">
                <a16:creationId xmlns:a16="http://schemas.microsoft.com/office/drawing/2014/main" id="{B3812862-39D7-A0F4-421F-EC9ABC50866D}"/>
              </a:ext>
            </a:extLst>
          </p:cNvPr>
          <p:cNvSpPr>
            <a:spLocks noEditPoints="1"/>
          </p:cNvSpPr>
          <p:nvPr userDrawn="1"/>
        </p:nvSpPr>
        <p:spPr bwMode="auto">
          <a:xfrm rot="10800000">
            <a:off x="11720782" y="5136279"/>
            <a:ext cx="304082" cy="3040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ardrop 7">
            <a:extLst>
              <a:ext uri="{FF2B5EF4-FFF2-40B4-BE49-F238E27FC236}">
                <a16:creationId xmlns:a16="http://schemas.microsoft.com/office/drawing/2014/main" id="{39D53126-CAB9-0910-8E66-3F0203162D89}"/>
              </a:ext>
            </a:extLst>
          </p:cNvPr>
          <p:cNvSpPr/>
          <p:nvPr userDrawn="1"/>
        </p:nvSpPr>
        <p:spPr>
          <a:xfrm rot="18900000">
            <a:off x="11695668" y="4641531"/>
            <a:ext cx="344966" cy="344966"/>
          </a:xfrm>
          <a:prstGeom prst="teardrop">
            <a:avLst>
              <a:gd name="adj" fmla="val 11243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9" name="Oval 8">
            <a:hlinkClick r:id="rId2" action="ppaction://hlinksldjump"/>
            <a:extLst>
              <a:ext uri="{FF2B5EF4-FFF2-40B4-BE49-F238E27FC236}">
                <a16:creationId xmlns:a16="http://schemas.microsoft.com/office/drawing/2014/main" id="{2C33FF67-6F8C-CDA4-0FD3-B561292BB8E3}"/>
              </a:ext>
            </a:extLst>
          </p:cNvPr>
          <p:cNvSpPr/>
          <p:nvPr userDrawn="1"/>
        </p:nvSpPr>
        <p:spPr>
          <a:xfrm>
            <a:off x="11718134" y="4663347"/>
            <a:ext cx="300037" cy="30003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0" name="Graphic 9">
            <a:hlinkClick r:id="rId2" action="ppaction://hlinksldjump"/>
            <a:extLst>
              <a:ext uri="{FF2B5EF4-FFF2-40B4-BE49-F238E27FC236}">
                <a16:creationId xmlns:a16="http://schemas.microsoft.com/office/drawing/2014/main" id="{7B1E8D61-B17A-748F-015A-EC305CA9CD7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71609" y="4716777"/>
            <a:ext cx="193132" cy="193132"/>
          </a:xfrm>
          <a:prstGeom prst="rect">
            <a:avLst/>
          </a:prstGeom>
        </p:spPr>
      </p:pic>
      <p:sp>
        <p:nvSpPr>
          <p:cNvPr id="11" name="Content Placeholder 4">
            <a:extLst>
              <a:ext uri="{FF2B5EF4-FFF2-40B4-BE49-F238E27FC236}">
                <a16:creationId xmlns:a16="http://schemas.microsoft.com/office/drawing/2014/main" id="{0285C4EF-03E2-4EE5-FB54-7041219C5148}"/>
              </a:ext>
            </a:extLst>
          </p:cNvPr>
          <p:cNvSpPr txBox="1">
            <a:spLocks/>
          </p:cNvSpPr>
          <p:nvPr userDrawn="1"/>
        </p:nvSpPr>
        <p:spPr>
          <a:xfrm>
            <a:off x="3475832" y="6603970"/>
            <a:ext cx="5240337" cy="180975"/>
          </a:xfrm>
          <a:prstGeom prst="rect">
            <a:avLst/>
          </a:prstGeom>
        </p:spPr>
        <p:txBody>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algn="ctr" defTabSz="685909" fontAlgn="base">
              <a:defRPr/>
            </a:pPr>
            <a:r>
              <a:rPr lang="en-GB" sz="800" b="0" baseline="30000">
                <a:solidFill>
                  <a:schemeClr val="tx2"/>
                </a:solidFill>
                <a:cs typeface="Arial" pitchFamily="34" charset="0"/>
              </a:rPr>
              <a:t>©</a:t>
            </a:r>
            <a:r>
              <a:rPr lang="en-GB" sz="800" b="0">
                <a:solidFill>
                  <a:schemeClr val="tx2"/>
                </a:solidFill>
                <a:cs typeface="Arial" pitchFamily="34" charset="0"/>
              </a:rPr>
              <a:t>2024 Novo Nordisk • For use by field medical employees in scientific exchange</a:t>
            </a:r>
            <a:endParaRPr lang="en-US" sz="800" b="0">
              <a:solidFill>
                <a:schemeClr val="tx2"/>
              </a:solidFill>
              <a:cs typeface="Arial" pitchFamily="34" charset="0"/>
            </a:endParaRPr>
          </a:p>
        </p:txBody>
      </p:sp>
    </p:spTree>
    <p:extLst>
      <p:ext uri="{BB962C8B-B14F-4D97-AF65-F5344CB8AC3E}">
        <p14:creationId xmlns:p14="http://schemas.microsoft.com/office/powerpoint/2010/main" val="15761523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Section slide">
    <p:spTree>
      <p:nvGrpSpPr>
        <p:cNvPr id="1" name=""/>
        <p:cNvGrpSpPr/>
        <p:nvPr/>
      </p:nvGrpSpPr>
      <p:grpSpPr>
        <a:xfrm>
          <a:off x="0" y="0"/>
          <a:ext cx="0" cy="0"/>
          <a:chOff x="0" y="0"/>
          <a:chExt cx="0" cy="0"/>
        </a:xfrm>
      </p:grpSpPr>
      <p:pic>
        <p:nvPicPr>
          <p:cNvPr id="4" name="Picture 3" descr="A blue and white rectangles&#10;&#10;AI-generated content may be incorrect.">
            <a:extLst>
              <a:ext uri="{FF2B5EF4-FFF2-40B4-BE49-F238E27FC236}">
                <a16:creationId xmlns:a16="http://schemas.microsoft.com/office/drawing/2014/main" id="{0549F703-F070-CF43-AF19-F5D218F34C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E98E622C-5CFE-7B9B-B080-2F76EB15A5D7}"/>
              </a:ext>
            </a:extLst>
          </p:cNvPr>
          <p:cNvSpPr>
            <a:spLocks noGrp="1"/>
          </p:cNvSpPr>
          <p:nvPr>
            <p:ph type="ctrTitle" hasCustomPrompt="1"/>
          </p:nvPr>
        </p:nvSpPr>
        <p:spPr>
          <a:xfrm>
            <a:off x="4160749" y="2150534"/>
            <a:ext cx="7057321" cy="1931049"/>
          </a:xfrm>
        </p:spPr>
        <p:txBody>
          <a:bodyPr tIns="91440" bIns="91440" anchor="b" anchorCtr="0"/>
          <a:lstStyle>
            <a:lvl1pPr algn="r">
              <a:lnSpc>
                <a:spcPct val="100000"/>
              </a:lnSpc>
              <a:defRPr sz="4000">
                <a:solidFill>
                  <a:schemeClr val="tx2"/>
                </a:solidFill>
                <a:latin typeface="+mj-lt"/>
              </a:defRPr>
            </a:lvl1pPr>
          </a:lstStyle>
          <a:p>
            <a:r>
              <a:rPr lang="en-GB"/>
              <a:t>Click to add title</a:t>
            </a:r>
          </a:p>
        </p:txBody>
      </p:sp>
      <p:sp>
        <p:nvSpPr>
          <p:cNvPr id="6" name="TextBox 5">
            <a:extLst>
              <a:ext uri="{FF2B5EF4-FFF2-40B4-BE49-F238E27FC236}">
                <a16:creationId xmlns:a16="http://schemas.microsoft.com/office/drawing/2014/main" id="{445D08B4-A38A-69AC-104C-89BEFF95D8B0}"/>
              </a:ext>
            </a:extLst>
          </p:cNvPr>
          <p:cNvSpPr txBox="1"/>
          <p:nvPr userDrawn="1"/>
        </p:nvSpPr>
        <p:spPr>
          <a:xfrm>
            <a:off x="11218070" y="324001"/>
            <a:ext cx="648495" cy="107722"/>
          </a:xfrm>
          <a:prstGeom prst="rect">
            <a:avLst/>
          </a:prstGeom>
          <a:noFill/>
        </p:spPr>
        <p:txBody>
          <a:bodyPr wrap="square" lIns="0" tIns="0" rIns="0" bIns="0" rtlCol="0">
            <a:spAutoFit/>
          </a:bodyPr>
          <a:lstStyle/>
          <a:p>
            <a:pPr algn="r"/>
            <a:r>
              <a:rPr lang="en-GB" sz="700">
                <a:solidFill>
                  <a:schemeClr val="tx2"/>
                </a:solidFill>
              </a:rPr>
              <a:t>Novo Nordisk</a:t>
            </a:r>
            <a:r>
              <a:rPr lang="en-GB" sz="700" baseline="30000">
                <a:solidFill>
                  <a:schemeClr val="tx2"/>
                </a:solidFill>
              </a:rPr>
              <a:t>®</a:t>
            </a:r>
          </a:p>
        </p:txBody>
      </p:sp>
    </p:spTree>
    <p:extLst>
      <p:ext uri="{BB962C8B-B14F-4D97-AF65-F5344CB8AC3E}">
        <p14:creationId xmlns:p14="http://schemas.microsoft.com/office/powerpoint/2010/main" val="40268345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A. Content_no 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8" y="6163820"/>
            <a:ext cx="10895999" cy="324000"/>
          </a:xfrm>
        </p:spPr>
        <p:txBody>
          <a:bodyPr anchor="b"/>
          <a:lstStyle>
            <a:lvl1pPr marL="0" indent="0">
              <a:buNone/>
              <a:defRPr sz="800" i="1">
                <a:solidFill>
                  <a:schemeClr val="accent6"/>
                </a:solidFill>
              </a:defRPr>
            </a:lvl1pPr>
          </a:lstStyle>
          <a:p>
            <a:pPr lvl="0"/>
            <a:r>
              <a:rPr lang="en-GB"/>
              <a:t>Insert notes</a:t>
            </a:r>
          </a:p>
        </p:txBody>
      </p:sp>
      <p:sp>
        <p:nvSpPr>
          <p:cNvPr id="4" name="Rectangle 3">
            <a:extLst>
              <a:ext uri="{FF2B5EF4-FFF2-40B4-BE49-F238E27FC236}">
                <a16:creationId xmlns:a16="http://schemas.microsoft.com/office/drawing/2014/main" id="{1AD7568E-AB51-9AE9-2227-3B6EFC3F1E20}"/>
              </a:ext>
            </a:extLst>
          </p:cNvPr>
          <p:cNvSpPr/>
          <p:nvPr userDrawn="1"/>
        </p:nvSpPr>
        <p:spPr>
          <a:xfrm>
            <a:off x="605563" y="54501"/>
            <a:ext cx="11087857" cy="242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5" name="Rectangle 4">
            <a:extLst>
              <a:ext uri="{FF2B5EF4-FFF2-40B4-BE49-F238E27FC236}">
                <a16:creationId xmlns:a16="http://schemas.microsoft.com/office/drawing/2014/main" id="{4D7D3CA4-82F2-A57C-2B08-23DB13C850A4}"/>
              </a:ext>
            </a:extLst>
          </p:cNvPr>
          <p:cNvSpPr/>
          <p:nvPr userDrawn="1"/>
        </p:nvSpPr>
        <p:spPr>
          <a:xfrm>
            <a:off x="605564" y="230137"/>
            <a:ext cx="10573128" cy="242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Tree>
    <p:extLst>
      <p:ext uri="{BB962C8B-B14F-4D97-AF65-F5344CB8AC3E}">
        <p14:creationId xmlns:p14="http://schemas.microsoft.com/office/powerpoint/2010/main" val="41886733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A. Conten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B3FC178E-2660-2285-34A8-CD66F4AB3F42}"/>
              </a:ext>
            </a:extLst>
          </p:cNvPr>
          <p:cNvSpPr>
            <a:spLocks noGrp="1"/>
          </p:cNvSpPr>
          <p:nvPr>
            <p:ph type="body" sz="quarter" idx="14" hasCustomPrompt="1"/>
          </p:nvPr>
        </p:nvSpPr>
        <p:spPr>
          <a:xfrm>
            <a:off x="647781" y="6279273"/>
            <a:ext cx="8652000" cy="324000"/>
          </a:xfrm>
        </p:spPr>
        <p:txBody>
          <a:bodyPr anchor="b"/>
          <a:lstStyle>
            <a:lvl1pPr marL="0" indent="0">
              <a:buNone/>
              <a:defRPr sz="800" i="1">
                <a:solidFill>
                  <a:schemeClr val="accent6"/>
                </a:solidFill>
              </a:defRPr>
            </a:lvl1pPr>
          </a:lstStyle>
          <a:p>
            <a:pPr lvl="0"/>
            <a:r>
              <a:rPr lang="en-GB"/>
              <a:t>Insert notes</a:t>
            </a:r>
          </a:p>
        </p:txBody>
      </p:sp>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286182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 Cover">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4407AE94-8FEE-64CB-B9FB-BC43DF09FF00}"/>
              </a:ext>
            </a:extLst>
          </p:cNvPr>
          <p:cNvSpPr>
            <a:spLocks noGrp="1"/>
          </p:cNvSpPr>
          <p:nvPr>
            <p:ph type="pic" sz="quarter" idx="13" hasCustomPrompt="1"/>
          </p:nvPr>
        </p:nvSpPr>
        <p:spPr>
          <a:xfrm>
            <a:off x="323849" y="323850"/>
            <a:ext cx="7054851" cy="6208713"/>
          </a:xfrm>
          <a:prstGeom prst="rect">
            <a:avLst/>
          </a:prstGeom>
          <a:solidFill>
            <a:srgbClr val="D4D7DC"/>
          </a:solidFill>
        </p:spPr>
        <p:txBody>
          <a:bodyPr wrap="square" tIns="72000">
            <a:noAutofit/>
          </a:bodyPr>
          <a:lstStyle>
            <a:lvl1pPr marL="0" indent="0" algn="ctr">
              <a:buNone/>
              <a:defRPr sz="14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bg1"/>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6" name="Graphic 5">
            <a:extLst>
              <a:ext uri="{FF2B5EF4-FFF2-40B4-BE49-F238E27FC236}">
                <a16:creationId xmlns:a16="http://schemas.microsoft.com/office/drawing/2014/main" id="{B9C0A83C-ECC3-2621-71D0-29A9C233199F}"/>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4" name="Logo Apis Bull">
            <a:extLst>
              <a:ext uri="{FF2B5EF4-FFF2-40B4-BE49-F238E27FC236}">
                <a16:creationId xmlns:a16="http://schemas.microsoft.com/office/drawing/2014/main" id="{60A04678-27D4-C056-C92B-945957339625}"/>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4247476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 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61CA8-EE0A-C57E-1585-96BCBB66416D}"/>
              </a:ext>
            </a:extLst>
          </p:cNvPr>
          <p:cNvSpPr/>
          <p:nvPr userDrawn="1"/>
        </p:nvSpPr>
        <p:spPr>
          <a:xfrm>
            <a:off x="323850" y="323850"/>
            <a:ext cx="7054850" cy="62087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bg1"/>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bg1"/>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6" name="Graphic 5">
            <a:extLst>
              <a:ext uri="{FF2B5EF4-FFF2-40B4-BE49-F238E27FC236}">
                <a16:creationId xmlns:a16="http://schemas.microsoft.com/office/drawing/2014/main" id="{B9C0A83C-ECC3-2621-71D0-29A9C233199F}"/>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11" name="Logo Apis Bull">
            <a:extLst>
              <a:ext uri="{FF2B5EF4-FFF2-40B4-BE49-F238E27FC236}">
                <a16:creationId xmlns:a16="http://schemas.microsoft.com/office/drawing/2014/main" id="{4609661D-AB7E-8B1C-C92A-259507C2708F}"/>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2881699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 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61CA8-EE0A-C57E-1585-96BCBB66416D}"/>
              </a:ext>
            </a:extLst>
          </p:cNvPr>
          <p:cNvSpPr/>
          <p:nvPr userDrawn="1"/>
        </p:nvSpPr>
        <p:spPr>
          <a:xfrm>
            <a:off x="323850" y="323850"/>
            <a:ext cx="7054850" cy="6208713"/>
          </a:xfrm>
          <a:prstGeom prst="rect">
            <a:avLst/>
          </a:prstGeom>
          <a:solidFill>
            <a:srgbClr val="EBE8E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bwMode="auto">
          <a:xfrm>
            <a:off x="648000" y="648000"/>
            <a:ext cx="6406850" cy="3104850"/>
          </a:xfrm>
        </p:spPr>
        <p:txBody>
          <a:bodyPr bIns="144000" anchor="b"/>
          <a:lstStyle>
            <a:lvl1pPr algn="l">
              <a:lnSpc>
                <a:spcPct val="100000"/>
              </a:lnSpc>
              <a:defRPr sz="4400">
                <a:solidFill>
                  <a:schemeClr val="tx2"/>
                </a:solidFill>
              </a:defRPr>
            </a:lvl1pPr>
          </a:lstStyle>
          <a:p>
            <a:r>
              <a:rPr lang="en-GB"/>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6406851" cy="1309148"/>
          </a:xfrm>
        </p:spPr>
        <p:txBody>
          <a:bodyPr/>
          <a:lstStyle>
            <a:lvl1pPr marL="0" indent="0">
              <a:buNone/>
              <a:defRPr>
                <a:solidFill>
                  <a:schemeClr val="tx2"/>
                </a:solidFill>
                <a:latin typeface="+mj-lt"/>
              </a:defRPr>
            </a:lvl1pPr>
          </a:lstStyle>
          <a:p>
            <a:pPr lvl="0"/>
            <a:r>
              <a:rPr lang="en-GB"/>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tx2"/>
                </a:solidFill>
              </a:defRPr>
            </a:lvl1pPr>
          </a:lstStyle>
          <a:p>
            <a:pPr lvl="0"/>
            <a:r>
              <a:rPr lang="en-GB"/>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tx2"/>
                </a:solidFill>
              </a:defRPr>
            </a:lvl1pPr>
          </a:lstStyle>
          <a:p>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a:p>
        </p:txBody>
      </p:sp>
      <p:pic>
        <p:nvPicPr>
          <p:cNvPr id="6" name="Graphic 5">
            <a:extLst>
              <a:ext uri="{FF2B5EF4-FFF2-40B4-BE49-F238E27FC236}">
                <a16:creationId xmlns:a16="http://schemas.microsoft.com/office/drawing/2014/main" id="{B9C0A83C-ECC3-2621-71D0-29A9C233199F}"/>
              </a:ext>
            </a:extLst>
          </p:cNvPr>
          <p:cNvPicPr>
            <a:picLocks noChangeAspect="1"/>
          </p:cNvPicPr>
          <p:nvPr userDrawn="1"/>
        </p:nvPicPr>
        <p:blipFill>
          <a:blip>
            <a:extLst>
              <a:ext uri="{96DAC541-7B7A-43D3-8B79-37D633B846F1}">
                <asvg:svgBlip xmlns:asvg="http://schemas.microsoft.com/office/drawing/2016/SVG/main" r:embed="rId2"/>
              </a:ext>
            </a:extLst>
          </a:blip>
          <a:srcRect r="3933" b="1137"/>
          <a:stretch/>
        </p:blipFill>
        <p:spPr>
          <a:xfrm>
            <a:off x="8839165" y="2189949"/>
            <a:ext cx="3352836" cy="4668051"/>
          </a:xfrm>
          <a:prstGeom prst="rect">
            <a:avLst/>
          </a:prstGeom>
        </p:spPr>
      </p:pic>
      <p:sp>
        <p:nvSpPr>
          <p:cNvPr id="4" name="Logo Apis Bull">
            <a:extLst>
              <a:ext uri="{FF2B5EF4-FFF2-40B4-BE49-F238E27FC236}">
                <a16:creationId xmlns:a16="http://schemas.microsoft.com/office/drawing/2014/main" id="{EC1CAB69-E39D-675E-4F05-AFEC6C21012A}"/>
              </a:ext>
            </a:extLst>
          </p:cNvPr>
          <p:cNvSpPr>
            <a:spLocks noChangeAspect="1"/>
          </p:cNvSpPr>
          <p:nvPr userDrawn="1"/>
        </p:nvSpPr>
        <p:spPr>
          <a:xfrm>
            <a:off x="11226814" y="325428"/>
            <a:ext cx="641336" cy="45720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rgbClr val="001965"/>
          </a:solidFill>
          <a:ln w="8132" cap="flat">
            <a:noFill/>
            <a:prstDash val="solid"/>
            <a:miter/>
          </a:ln>
        </p:spPr>
        <p:txBody>
          <a:bodyPr rtlCol="0" anchor="ctr"/>
          <a:lstStyle/>
          <a:p>
            <a:endParaRPr lang="en-US"/>
          </a:p>
        </p:txBody>
      </p:sp>
    </p:spTree>
    <p:extLst>
      <p:ext uri="{BB962C8B-B14F-4D97-AF65-F5344CB8AC3E}">
        <p14:creationId xmlns:p14="http://schemas.microsoft.com/office/powerpoint/2010/main" val="3220917945"/>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52.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tags" Target="../tags/tag19.xml"/><Relationship Id="rId138" Type="http://schemas.openxmlformats.org/officeDocument/2006/relationships/tags" Target="../tags/tag73.xml"/><Relationship Id="rId107" Type="http://schemas.openxmlformats.org/officeDocument/2006/relationships/tags" Target="../tags/tag42.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tags" Target="../tags/tag9.xml"/><Relationship Id="rId128" Type="http://schemas.openxmlformats.org/officeDocument/2006/relationships/tags" Target="../tags/tag63.xml"/><Relationship Id="rId149" Type="http://schemas.openxmlformats.org/officeDocument/2006/relationships/tags" Target="../tags/tag84.xml"/><Relationship Id="rId5" Type="http://schemas.openxmlformats.org/officeDocument/2006/relationships/slideLayout" Target="../slideLayouts/slideLayout5.xml"/><Relationship Id="rId95" Type="http://schemas.openxmlformats.org/officeDocument/2006/relationships/tags" Target="../tags/tag3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tags" Target="../tags/tag4.xml"/><Relationship Id="rId113" Type="http://schemas.openxmlformats.org/officeDocument/2006/relationships/tags" Target="../tags/tag48.xml"/><Relationship Id="rId118" Type="http://schemas.openxmlformats.org/officeDocument/2006/relationships/tags" Target="../tags/tag53.xml"/><Relationship Id="rId134" Type="http://schemas.openxmlformats.org/officeDocument/2006/relationships/tags" Target="../tags/tag69.xml"/><Relationship Id="rId139" Type="http://schemas.openxmlformats.org/officeDocument/2006/relationships/tags" Target="../tags/tag74.xml"/><Relationship Id="rId80" Type="http://schemas.openxmlformats.org/officeDocument/2006/relationships/tags" Target="../tags/tag15.xml"/><Relationship Id="rId85" Type="http://schemas.openxmlformats.org/officeDocument/2006/relationships/tags" Target="../tags/tag20.xml"/><Relationship Id="rId150" Type="http://schemas.openxmlformats.org/officeDocument/2006/relationships/tags" Target="../tags/tag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ags" Target="../tags/tag38.xml"/><Relationship Id="rId108" Type="http://schemas.openxmlformats.org/officeDocument/2006/relationships/tags" Target="../tags/tag43.xml"/><Relationship Id="rId124" Type="http://schemas.openxmlformats.org/officeDocument/2006/relationships/tags" Target="../tags/tag59.xml"/><Relationship Id="rId129" Type="http://schemas.openxmlformats.org/officeDocument/2006/relationships/tags" Target="../tags/tag64.xml"/><Relationship Id="rId54" Type="http://schemas.openxmlformats.org/officeDocument/2006/relationships/slideLayout" Target="../slideLayouts/slideLayout54.xml"/><Relationship Id="rId70" Type="http://schemas.openxmlformats.org/officeDocument/2006/relationships/tags" Target="../tags/tag5.xml"/><Relationship Id="rId75" Type="http://schemas.openxmlformats.org/officeDocument/2006/relationships/tags" Target="../tags/tag10.xml"/><Relationship Id="rId91" Type="http://schemas.openxmlformats.org/officeDocument/2006/relationships/tags" Target="../tags/tag26.xml"/><Relationship Id="rId96" Type="http://schemas.openxmlformats.org/officeDocument/2006/relationships/tags" Target="../tags/tag31.xml"/><Relationship Id="rId140" Type="http://schemas.openxmlformats.org/officeDocument/2006/relationships/tags" Target="../tags/tag75.xml"/><Relationship Id="rId145" Type="http://schemas.openxmlformats.org/officeDocument/2006/relationships/tags" Target="../tags/tag80.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tags" Target="../tags/tag49.xml"/><Relationship Id="rId119" Type="http://schemas.openxmlformats.org/officeDocument/2006/relationships/tags" Target="../tags/tag54.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theme" Target="../theme/theme1.xml"/><Relationship Id="rId81" Type="http://schemas.openxmlformats.org/officeDocument/2006/relationships/tags" Target="../tags/tag16.xml"/><Relationship Id="rId86" Type="http://schemas.openxmlformats.org/officeDocument/2006/relationships/tags" Target="../tags/tag21.xml"/><Relationship Id="rId130" Type="http://schemas.openxmlformats.org/officeDocument/2006/relationships/tags" Target="../tags/tag65.xml"/><Relationship Id="rId135" Type="http://schemas.openxmlformats.org/officeDocument/2006/relationships/tags" Target="../tags/tag70.xml"/><Relationship Id="rId151" Type="http://schemas.openxmlformats.org/officeDocument/2006/relationships/tags" Target="../tags/tag8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tags" Target="../tags/tag44.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ags" Target="../tags/tag11.xml"/><Relationship Id="rId97" Type="http://schemas.openxmlformats.org/officeDocument/2006/relationships/tags" Target="../tags/tag32.xml"/><Relationship Id="rId104" Type="http://schemas.openxmlformats.org/officeDocument/2006/relationships/tags" Target="../tags/tag39.xml"/><Relationship Id="rId120" Type="http://schemas.openxmlformats.org/officeDocument/2006/relationships/tags" Target="../tags/tag55.xml"/><Relationship Id="rId125" Type="http://schemas.openxmlformats.org/officeDocument/2006/relationships/tags" Target="../tags/tag60.xml"/><Relationship Id="rId141" Type="http://schemas.openxmlformats.org/officeDocument/2006/relationships/tags" Target="../tags/tag76.xml"/><Relationship Id="rId146" Type="http://schemas.openxmlformats.org/officeDocument/2006/relationships/tags" Target="../tags/tag81.xml"/><Relationship Id="rId7" Type="http://schemas.openxmlformats.org/officeDocument/2006/relationships/slideLayout" Target="../slideLayouts/slideLayout7.xml"/><Relationship Id="rId71" Type="http://schemas.openxmlformats.org/officeDocument/2006/relationships/tags" Target="../tags/tag6.xml"/><Relationship Id="rId92" Type="http://schemas.openxmlformats.org/officeDocument/2006/relationships/tags" Target="../tags/tag27.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tags" Target="../tags/tag1.xml"/><Relationship Id="rId87" Type="http://schemas.openxmlformats.org/officeDocument/2006/relationships/tags" Target="../tags/tag22.xml"/><Relationship Id="rId110" Type="http://schemas.openxmlformats.org/officeDocument/2006/relationships/tags" Target="../tags/tag45.xml"/><Relationship Id="rId115" Type="http://schemas.openxmlformats.org/officeDocument/2006/relationships/tags" Target="../tags/tag50.xml"/><Relationship Id="rId131" Type="http://schemas.openxmlformats.org/officeDocument/2006/relationships/tags" Target="../tags/tag66.xml"/><Relationship Id="rId136" Type="http://schemas.openxmlformats.org/officeDocument/2006/relationships/tags" Target="../tags/tag71.xml"/><Relationship Id="rId61" Type="http://schemas.openxmlformats.org/officeDocument/2006/relationships/slideLayout" Target="../slideLayouts/slideLayout61.xml"/><Relationship Id="rId82" Type="http://schemas.openxmlformats.org/officeDocument/2006/relationships/tags" Target="../tags/tag17.xml"/><Relationship Id="rId152" Type="http://schemas.openxmlformats.org/officeDocument/2006/relationships/tags" Target="../tags/tag87.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tags" Target="../tags/tag12.xml"/><Relationship Id="rId100" Type="http://schemas.openxmlformats.org/officeDocument/2006/relationships/tags" Target="../tags/tag35.xml"/><Relationship Id="rId105" Type="http://schemas.openxmlformats.org/officeDocument/2006/relationships/tags" Target="../tags/tag40.xml"/><Relationship Id="rId126" Type="http://schemas.openxmlformats.org/officeDocument/2006/relationships/tags" Target="../tags/tag61.xml"/><Relationship Id="rId147" Type="http://schemas.openxmlformats.org/officeDocument/2006/relationships/tags" Target="../tags/tag8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7.xml"/><Relationship Id="rId93" Type="http://schemas.openxmlformats.org/officeDocument/2006/relationships/tags" Target="../tags/tag28.xml"/><Relationship Id="rId98" Type="http://schemas.openxmlformats.org/officeDocument/2006/relationships/tags" Target="../tags/tag33.xml"/><Relationship Id="rId121" Type="http://schemas.openxmlformats.org/officeDocument/2006/relationships/tags" Target="../tags/tag56.xml"/><Relationship Id="rId142" Type="http://schemas.openxmlformats.org/officeDocument/2006/relationships/tags" Target="../tags/tag77.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tags" Target="../tags/tag2.xml"/><Relationship Id="rId116" Type="http://schemas.openxmlformats.org/officeDocument/2006/relationships/tags" Target="../tags/tag51.xml"/><Relationship Id="rId137" Type="http://schemas.openxmlformats.org/officeDocument/2006/relationships/tags" Target="../tags/tag7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tags" Target="../tags/tag18.xml"/><Relationship Id="rId88" Type="http://schemas.openxmlformats.org/officeDocument/2006/relationships/tags" Target="../tags/tag23.xml"/><Relationship Id="rId111" Type="http://schemas.openxmlformats.org/officeDocument/2006/relationships/tags" Target="../tags/tag46.xml"/><Relationship Id="rId132" Type="http://schemas.openxmlformats.org/officeDocument/2006/relationships/tags" Target="../tags/tag67.xml"/><Relationship Id="rId153" Type="http://schemas.openxmlformats.org/officeDocument/2006/relationships/tags" Target="../tags/tag88.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tags" Target="../tags/tag41.xml"/><Relationship Id="rId127" Type="http://schemas.openxmlformats.org/officeDocument/2006/relationships/tags" Target="../tags/tag6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tags" Target="../tags/tag8.xml"/><Relationship Id="rId78" Type="http://schemas.openxmlformats.org/officeDocument/2006/relationships/tags" Target="../tags/tag13.xml"/><Relationship Id="rId94" Type="http://schemas.openxmlformats.org/officeDocument/2006/relationships/tags" Target="../tags/tag29.xml"/><Relationship Id="rId99" Type="http://schemas.openxmlformats.org/officeDocument/2006/relationships/tags" Target="../tags/tag34.xml"/><Relationship Id="rId101" Type="http://schemas.openxmlformats.org/officeDocument/2006/relationships/tags" Target="../tags/tag36.xml"/><Relationship Id="rId122" Type="http://schemas.openxmlformats.org/officeDocument/2006/relationships/tags" Target="../tags/tag57.xml"/><Relationship Id="rId143" Type="http://schemas.openxmlformats.org/officeDocument/2006/relationships/tags" Target="../tags/tag78.xml"/><Relationship Id="rId148" Type="http://schemas.openxmlformats.org/officeDocument/2006/relationships/tags" Target="../tags/tag83.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tags" Target="../tags/tag3.xml"/><Relationship Id="rId89" Type="http://schemas.openxmlformats.org/officeDocument/2006/relationships/tags" Target="../tags/tag24.xml"/><Relationship Id="rId112" Type="http://schemas.openxmlformats.org/officeDocument/2006/relationships/tags" Target="../tags/tag47.xml"/><Relationship Id="rId133" Type="http://schemas.openxmlformats.org/officeDocument/2006/relationships/tags" Target="../tags/tag68.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tags" Target="../tags/tag14.xml"/><Relationship Id="rId102" Type="http://schemas.openxmlformats.org/officeDocument/2006/relationships/tags" Target="../tags/tag37.xml"/><Relationship Id="rId123" Type="http://schemas.openxmlformats.org/officeDocument/2006/relationships/tags" Target="../tags/tag58.xml"/><Relationship Id="rId144" Type="http://schemas.openxmlformats.org/officeDocument/2006/relationships/tags" Target="../tags/tag79.xml"/><Relationship Id="rId90"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a:solidFill>
                  <a:schemeClr val="tx2"/>
                </a:solidFill>
              </a:rPr>
              <a:t>Novo Nordisk</a:t>
            </a:r>
            <a:r>
              <a:rPr lang="en-GB" sz="700" baseline="3000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66"/>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67"/>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68"/>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69"/>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70"/>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71"/>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72"/>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73"/>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74"/>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75"/>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76"/>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77"/>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78"/>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79"/>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80"/>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81"/>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82"/>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83"/>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84"/>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85"/>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86"/>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87"/>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88"/>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89"/>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90"/>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91"/>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92"/>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93"/>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94"/>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95"/>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96"/>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97"/>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98"/>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99"/>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100"/>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101"/>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102"/>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103"/>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104"/>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105"/>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106"/>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107"/>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108"/>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109"/>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110"/>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11"/>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12"/>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13"/>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14"/>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15"/>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16"/>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17"/>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18"/>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19"/>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20"/>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21"/>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22"/>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23"/>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24"/>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25"/>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26"/>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27"/>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28"/>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29"/>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30"/>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31"/>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32"/>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33"/>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34"/>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35"/>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36"/>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37"/>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38"/>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39"/>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40"/>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41"/>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42"/>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43"/>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44"/>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45"/>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46"/>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47"/>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48"/>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49"/>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50"/>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51"/>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52"/>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a:extLst>
              <a:ext uri="{FF2B5EF4-FFF2-40B4-BE49-F238E27FC236}">
                <a16:creationId xmlns:a16="http://schemas.microsoft.com/office/drawing/2014/main" id="{C76950B1-616E-4DAB-A1C9-C18FEC9C31D4}"/>
              </a:ext>
            </a:extLst>
          </p:cNvPr>
          <p:cNvSpPr/>
          <p:nvPr userDrawn="1">
            <p:custDataLst>
              <p:tags r:id="rId153"/>
            </p:custDataLst>
          </p:nvPr>
        </p:nvSpPr>
        <p:spPr>
          <a:xfrm>
            <a:off x="9624000" y="4077000"/>
            <a:ext cx="1920000" cy="2133000"/>
          </a:xfrm>
          <a:prstGeom prst="rect">
            <a:avLst/>
          </a:prstGeom>
          <a:no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92" r:id="rId2"/>
    <p:sldLayoutId id="2147483796" r:id="rId3"/>
    <p:sldLayoutId id="2147483809" r:id="rId4"/>
    <p:sldLayoutId id="2147483730" r:id="rId5"/>
    <p:sldLayoutId id="2147483822" r:id="rId6"/>
    <p:sldLayoutId id="2147483810" r:id="rId7"/>
    <p:sldLayoutId id="2147483812" r:id="rId8"/>
    <p:sldLayoutId id="2147483813" r:id="rId9"/>
    <p:sldLayoutId id="2147483814" r:id="rId10"/>
    <p:sldLayoutId id="2147483815" r:id="rId11"/>
    <p:sldLayoutId id="2147483816" r:id="rId12"/>
    <p:sldLayoutId id="2147483737" r:id="rId13"/>
    <p:sldLayoutId id="2147483801" r:id="rId14"/>
    <p:sldLayoutId id="2147483806" r:id="rId15"/>
    <p:sldLayoutId id="2147483765" r:id="rId16"/>
    <p:sldLayoutId id="2147483731" r:id="rId17"/>
    <p:sldLayoutId id="2147483766" r:id="rId18"/>
    <p:sldLayoutId id="2147483802" r:id="rId19"/>
    <p:sldLayoutId id="2147483804" r:id="rId20"/>
    <p:sldLayoutId id="2147483817" r:id="rId21"/>
    <p:sldLayoutId id="2147483818" r:id="rId22"/>
    <p:sldLayoutId id="2147483819" r:id="rId23"/>
    <p:sldLayoutId id="2147483823" r:id="rId24"/>
    <p:sldLayoutId id="2147483825" r:id="rId25"/>
    <p:sldLayoutId id="2147483797" r:id="rId26"/>
    <p:sldLayoutId id="2147483732" r:id="rId27"/>
    <p:sldLayoutId id="2147483767" r:id="rId28"/>
    <p:sldLayoutId id="2147483768" r:id="rId29"/>
    <p:sldLayoutId id="2147483769" r:id="rId30"/>
    <p:sldLayoutId id="2147483770" r:id="rId31"/>
    <p:sldLayoutId id="2147483771" r:id="rId32"/>
    <p:sldLayoutId id="2147483772" r:id="rId33"/>
    <p:sldLayoutId id="2147483790" r:id="rId34"/>
    <p:sldLayoutId id="2147483793" r:id="rId35"/>
    <p:sldLayoutId id="2147483798" r:id="rId36"/>
    <p:sldLayoutId id="2147483794" r:id="rId37"/>
    <p:sldLayoutId id="2147483795" r:id="rId38"/>
    <p:sldLayoutId id="2147483743" r:id="rId39"/>
    <p:sldLayoutId id="2147483744" r:id="rId40"/>
    <p:sldLayoutId id="2147483820" r:id="rId41"/>
    <p:sldLayoutId id="2147483821" r:id="rId42"/>
    <p:sldLayoutId id="2147483807" r:id="rId43"/>
    <p:sldLayoutId id="2147483808" r:id="rId44"/>
    <p:sldLayoutId id="2147483762" r:id="rId45"/>
    <p:sldLayoutId id="2147483751" r:id="rId46"/>
    <p:sldLayoutId id="2147483827" r:id="rId47"/>
    <p:sldLayoutId id="2147483828" r:id="rId48"/>
    <p:sldLayoutId id="2147483868" r:id="rId49"/>
    <p:sldLayoutId id="2147483869" r:id="rId50"/>
    <p:sldLayoutId id="2147483870" r:id="rId51"/>
    <p:sldLayoutId id="2147483871" r:id="rId52"/>
    <p:sldLayoutId id="2147483872" r:id="rId53"/>
    <p:sldLayoutId id="2147483873" r:id="rId54"/>
    <p:sldLayoutId id="2147483874" r:id="rId55"/>
    <p:sldLayoutId id="2147483875" r:id="rId56"/>
    <p:sldLayoutId id="2147483876" r:id="rId57"/>
    <p:sldLayoutId id="2147483877" r:id="rId58"/>
    <p:sldLayoutId id="2147483878" r:id="rId59"/>
    <p:sldLayoutId id="2147483879" r:id="rId60"/>
    <p:sldLayoutId id="2147483842" r:id="rId61"/>
    <p:sldLayoutId id="2147483843" r:id="rId62"/>
    <p:sldLayoutId id="2147483844" r:id="rId63"/>
    <p:sldLayoutId id="2147483863" r:id="rId64"/>
  </p:sldLayoutIdLst>
  <p:hf hdr="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userDrawn="1">
          <p15:clr>
            <a:srgbClr val="A4A3A4"/>
          </p15:clr>
        </p15:guide>
        <p15:guide id="2" pos="1617" userDrawn="1">
          <p15:clr>
            <a:srgbClr val="A4A3A4"/>
          </p15:clr>
        </p15:guide>
        <p15:guide id="5" pos="3031" userDrawn="1">
          <p15:clr>
            <a:srgbClr val="A4A3A4"/>
          </p15:clr>
        </p15:guide>
        <p15:guide id="6" pos="3235" userDrawn="1">
          <p15:clr>
            <a:srgbClr val="A4A3A4"/>
          </p15:clr>
        </p15:guide>
        <p15:guide id="7" orient="horz" pos="3911" userDrawn="1">
          <p15:clr>
            <a:srgbClr val="A4A3A4"/>
          </p15:clr>
        </p15:guide>
        <p15:guide id="8" orient="horz" pos="4115" userDrawn="1">
          <p15:clr>
            <a:srgbClr val="A4A3A4"/>
          </p15:clr>
        </p15:guide>
        <p15:guide id="9" pos="6063" userDrawn="1">
          <p15:clr>
            <a:srgbClr val="A4A3A4"/>
          </p15:clr>
        </p15:guide>
        <p15:guide id="10" pos="7272" userDrawn="1">
          <p15:clr>
            <a:srgbClr val="A4A3A4"/>
          </p15:clr>
        </p15:guide>
        <p15:guide id="12" pos="4444" userDrawn="1">
          <p15:clr>
            <a:srgbClr val="A4A3A4"/>
          </p15:clr>
        </p15:guide>
        <p15:guide id="13" pos="4648" userDrawn="1">
          <p15:clr>
            <a:srgbClr val="A4A3A4"/>
          </p15:clr>
        </p15:guide>
        <p15:guide id="14" orient="horz" pos="204" userDrawn="1">
          <p15:clr>
            <a:srgbClr val="A4A3A4"/>
          </p15:clr>
        </p15:guide>
        <p15:guide id="15" orient="horz" pos="408" userDrawn="1">
          <p15:clr>
            <a:srgbClr val="A4A3A4"/>
          </p15:clr>
        </p15:guide>
        <p15:guide id="16" pos="1821" userDrawn="1">
          <p15:clr>
            <a:srgbClr val="A4A3A4"/>
          </p15:clr>
        </p15:guide>
        <p15:guide id="18" pos="5859" userDrawn="1">
          <p15:clr>
            <a:srgbClr val="A4A3A4"/>
          </p15:clr>
        </p15:guide>
        <p15:guide id="20" pos="7476" userDrawn="1">
          <p15:clr>
            <a:srgbClr val="A4A3A4"/>
          </p15:clr>
        </p15:guide>
        <p15:guide id="21" pos="2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3.xml"/><Relationship Id="rId7" Type="http://schemas.openxmlformats.org/officeDocument/2006/relationships/image" Target="../media/image21.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oleObject" Target="../embeddings/oleObject5.bin"/><Relationship Id="rId5" Type="http://schemas.microsoft.com/office/2018/10/relationships/comments" Target="../comments/modernComment_7FFFF2C5_58D8BAA2.xml"/><Relationship Id="rId4" Type="http://schemas.openxmlformats.org/officeDocument/2006/relationships/notesSlide" Target="../notesSlides/notesSlide7.xml"/><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4.xml"/><Relationship Id="rId7" Type="http://schemas.openxmlformats.org/officeDocument/2006/relationships/image" Target="../media/image22.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6.bin"/><Relationship Id="rId5" Type="http://schemas.microsoft.com/office/2018/10/relationships/comments" Target="../comments/modernComment_7FFFF2C6_7FA16CC5.xml"/><Relationship Id="rId4" Type="http://schemas.openxmlformats.org/officeDocument/2006/relationships/notesSlide" Target="../notesSlides/notesSlide8.xml"/><Relationship Id="rId9"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5.xml"/><Relationship Id="rId7" Type="http://schemas.openxmlformats.org/officeDocument/2006/relationships/image" Target="../media/image23.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7.bin"/><Relationship Id="rId5" Type="http://schemas.microsoft.com/office/2018/10/relationships/comments" Target="../comments/modernComment_7FFFF2C7_F6628273.xml"/><Relationship Id="rId4" Type="http://schemas.openxmlformats.org/officeDocument/2006/relationships/notesSlide" Target="../notesSlides/notesSlide9.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6.xml"/><Relationship Id="rId7" Type="http://schemas.openxmlformats.org/officeDocument/2006/relationships/image" Target="../media/image24.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8.bin"/><Relationship Id="rId5" Type="http://schemas.microsoft.com/office/2018/10/relationships/comments" Target="../comments/modernComment_7FFFF2C8_6E668FC4.xml"/><Relationship Id="rId4" Type="http://schemas.openxmlformats.org/officeDocument/2006/relationships/notesSlide" Target="../notesSlides/notesSlide10.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7.xml"/><Relationship Id="rId7" Type="http://schemas.openxmlformats.org/officeDocument/2006/relationships/image" Target="../media/image25.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9.bin"/><Relationship Id="rId5" Type="http://schemas.microsoft.com/office/2018/10/relationships/comments" Target="../comments/modernComment_7FFFF2C9_5C3A95B2.xml"/><Relationship Id="rId4" Type="http://schemas.openxmlformats.org/officeDocument/2006/relationships/notesSlide" Target="../notesSlides/notesSlide11.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8.xml"/><Relationship Id="rId7" Type="http://schemas.openxmlformats.org/officeDocument/2006/relationships/image" Target="../media/image26.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10.bin"/><Relationship Id="rId5" Type="http://schemas.microsoft.com/office/2018/10/relationships/comments" Target="../comments/modernComment_7FFFF2CA_1C43A7F3.xml"/><Relationship Id="rId4" Type="http://schemas.openxmlformats.org/officeDocument/2006/relationships/notesSlide" Target="../notesSlides/notesSlide12.xml"/><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9.xml"/><Relationship Id="rId7" Type="http://schemas.openxmlformats.org/officeDocument/2006/relationships/image" Target="../media/image27.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11.bin"/><Relationship Id="rId5" Type="http://schemas.microsoft.com/office/2018/10/relationships/comments" Target="../comments/modernComment_7FFFF2CB_EBF2828.xml"/><Relationship Id="rId4" Type="http://schemas.openxmlformats.org/officeDocument/2006/relationships/notesSlide" Target="../notesSlides/notesSlide13.xml"/><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12.bin"/><Relationship Id="rId5" Type="http://schemas.microsoft.com/office/2018/10/relationships/comments" Target="../comments/modernComment_7FFFF2CC_B7CEB101.xml"/><Relationship Id="rId4" Type="http://schemas.openxmlformats.org/officeDocument/2006/relationships/notesSlide" Target="../notesSlides/notesSlide14.xml"/><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microsoft.com/office/2018/10/relationships/comments" Target="../comments/modernComment_7FFFFFF1_2989EAEB.xml"/><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7FFFFFF2_C56859FF.xml"/><Relationship Id="rId2" Type="http://schemas.openxmlformats.org/officeDocument/2006/relationships/notesSlide" Target="../notesSlides/notesSlide16.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hyperlink" Target="https://www.novo-pi.com/wegovy.pdf" TargetMode="External"/><Relationship Id="rId2" Type="http://schemas.microsoft.com/office/2018/10/relationships/comments" Target="../comments/modernComment_7FFFF6DE_92B3E245.xml"/><Relationship Id="rId1" Type="http://schemas.openxmlformats.org/officeDocument/2006/relationships/slideLayout" Target="../slideLayouts/slideLayout47.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microsoft.com/office/2018/10/relationships/comments" Target="../comments/modernComment_7FFFFFF3_E8C2D4F9.xml"/><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F729_2749BB20.xml"/><Relationship Id="rId2" Type="http://schemas.openxmlformats.org/officeDocument/2006/relationships/notesSlide" Target="../notesSlides/notesSlide1.xml"/><Relationship Id="rId1" Type="http://schemas.openxmlformats.org/officeDocument/2006/relationships/slideLayout" Target="../slideLayouts/slideLayout48.xml"/><Relationship Id="rId5" Type="http://schemas.openxmlformats.org/officeDocument/2006/relationships/image" Target="../media/image14.png"/><Relationship Id="rId4" Type="http://schemas.openxmlformats.org/officeDocument/2006/relationships/hyperlink" Target="https://www.novo-pi.com/wegovy.pdf" TargetMode="Externa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89.xml"/><Relationship Id="rId7" Type="http://schemas.microsoft.com/office/2018/10/relationships/comments" Target="../comments/modernComment_7FFFFFF0_1F3408CC.xml"/><Relationship Id="rId12" Type="http://schemas.openxmlformats.org/officeDocument/2006/relationships/image" Target="../media/image14.png"/><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notesSlide" Target="../notesSlides/notesSlide2.xml"/><Relationship Id="rId11" Type="http://schemas.openxmlformats.org/officeDocument/2006/relationships/hyperlink" Target="https://www.novo-pi.com/wegovy.pdf" TargetMode="External"/><Relationship Id="rId5" Type="http://schemas.openxmlformats.org/officeDocument/2006/relationships/slideLayout" Target="../slideLayouts/slideLayout49.xml"/><Relationship Id="rId10" Type="http://schemas.openxmlformats.org/officeDocument/2006/relationships/image" Target="../media/image16.png"/><Relationship Id="rId4" Type="http://schemas.openxmlformats.org/officeDocument/2006/relationships/tags" Target="../tags/tag90.xml"/><Relationship Id="rId9" Type="http://schemas.openxmlformats.org/officeDocument/2006/relationships/image" Target="../media/image15.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1.xml"/><Relationship Id="rId7" Type="http://schemas.microsoft.com/office/2018/10/relationships/comments" Target="../comments/modernComment_7FFFF2B9_32130B04.xml"/><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notesSlide" Target="../notesSlides/notesSlide3.xml"/><Relationship Id="rId11" Type="http://schemas.openxmlformats.org/officeDocument/2006/relationships/image" Target="../media/image14.png"/><Relationship Id="rId5" Type="http://schemas.openxmlformats.org/officeDocument/2006/relationships/slideLayout" Target="../slideLayouts/slideLayout50.xml"/><Relationship Id="rId10" Type="http://schemas.openxmlformats.org/officeDocument/2006/relationships/hyperlink" Target="https://www.novo-pi.com/wegovy.pdf" TargetMode="External"/><Relationship Id="rId4" Type="http://schemas.openxmlformats.org/officeDocument/2006/relationships/tags" Target="../tags/tag92.xml"/><Relationship Id="rId9" Type="http://schemas.openxmlformats.org/officeDocument/2006/relationships/image" Target="../media/image17.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93.xml"/><Relationship Id="rId7" Type="http://schemas.microsoft.com/office/2018/10/relationships/comments" Target="../comments/modernComment_7FFFF2BC_BE380BF1.xml"/><Relationship Id="rId12" Type="http://schemas.openxmlformats.org/officeDocument/2006/relationships/image" Target="../media/image14.png"/><Relationship Id="rId2" Type="http://schemas.openxmlformats.org/officeDocument/2006/relationships/customXml" Target="../../customXml/item11.xml"/><Relationship Id="rId1" Type="http://schemas.openxmlformats.org/officeDocument/2006/relationships/customXml" Target="../../customXml/item10.xml"/><Relationship Id="rId6" Type="http://schemas.openxmlformats.org/officeDocument/2006/relationships/notesSlide" Target="../notesSlides/notesSlide4.xml"/><Relationship Id="rId11" Type="http://schemas.openxmlformats.org/officeDocument/2006/relationships/hyperlink" Target="https://www.novo-pi.com/wegovy.pdf" TargetMode="External"/><Relationship Id="rId5" Type="http://schemas.openxmlformats.org/officeDocument/2006/relationships/slideLayout" Target="../slideLayouts/slideLayout51.xml"/><Relationship Id="rId10" Type="http://schemas.openxmlformats.org/officeDocument/2006/relationships/image" Target="../media/image19.png"/><Relationship Id="rId4" Type="http://schemas.openxmlformats.org/officeDocument/2006/relationships/tags" Target="../tags/tag94.xml"/><Relationship Id="rId9"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hyperlink" Target="https://www.novo-pi.com/wegovy.pdf" TargetMode="External"/><Relationship Id="rId2" Type="http://schemas.microsoft.com/office/2018/10/relationships/comments" Target="../comments/modernComment_7FFFF6DF_F879CB04.xml"/><Relationship Id="rId1" Type="http://schemas.openxmlformats.org/officeDocument/2006/relationships/slideLayout" Target="../slideLayouts/slideLayout48.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8.xml"/><Relationship Id="rId1" Type="http://schemas.openxmlformats.org/officeDocument/2006/relationships/tags" Target="../tags/tag95.xml"/><Relationship Id="rId6" Type="http://schemas.openxmlformats.org/officeDocument/2006/relationships/image" Target="../media/image19.png"/><Relationship Id="rId5" Type="http://schemas.openxmlformats.org/officeDocument/2006/relationships/hyperlink" Target="https://www.novo-pi.com/wegovy.pdf" TargetMode="External"/><Relationship Id="rId4" Type="http://schemas.microsoft.com/office/2018/10/relationships/comments" Target="../comments/modernComment_7F3E89E0_58E5EB88.xml"/></Relationships>
</file>

<file path=ppt/slides/_rels/slide9.xml.rels><?xml version="1.0" encoding="UTF-8" standalone="yes"?>
<Relationships xmlns="http://schemas.openxmlformats.org/package/2006/relationships"><Relationship Id="rId8" Type="http://schemas.openxmlformats.org/officeDocument/2006/relationships/hyperlink" Target="https://www.novo-pi.com/wegovy.pdf" TargetMode="External"/><Relationship Id="rId3" Type="http://schemas.openxmlformats.org/officeDocument/2006/relationships/slideLayout" Target="../slideLayouts/slideLayout52.xml"/><Relationship Id="rId7" Type="http://schemas.openxmlformats.org/officeDocument/2006/relationships/image" Target="../media/image20.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4.bin"/><Relationship Id="rId5" Type="http://schemas.microsoft.com/office/2018/10/relationships/comments" Target="../comments/modernComment_7FFFF2C4_FA2E14E1.xml"/><Relationship Id="rId4" Type="http://schemas.openxmlformats.org/officeDocument/2006/relationships/notesSlide" Target="../notesSlides/notesSlide6.xml"/><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26082F89-95D1-83F1-170B-5A73FB83BFB1}"/>
              </a:ext>
            </a:extLst>
          </p:cNvPr>
          <p:cNvSpPr>
            <a:spLocks noGrp="1"/>
          </p:cNvSpPr>
          <p:nvPr>
            <p:ph type="ftr" sz="quarter" idx="11"/>
          </p:nvPr>
        </p:nvSpPr>
        <p:spPr/>
        <p:txBody>
          <a:bodyPr/>
          <a:lstStyle/>
          <a:p>
            <a:r>
              <a:rPr lang="en-GB"/>
              <a:t>(R) 2026 Novo Nordisk</a:t>
            </a:r>
          </a:p>
        </p:txBody>
      </p:sp>
      <p:sp>
        <p:nvSpPr>
          <p:cNvPr id="19" name="Title 18">
            <a:extLst>
              <a:ext uri="{FF2B5EF4-FFF2-40B4-BE49-F238E27FC236}">
                <a16:creationId xmlns:a16="http://schemas.microsoft.com/office/drawing/2014/main" id="{69C0F738-4ACF-E35D-0B81-1311D58CCF0E}"/>
              </a:ext>
            </a:extLst>
          </p:cNvPr>
          <p:cNvSpPr>
            <a:spLocks noGrp="1"/>
          </p:cNvSpPr>
          <p:nvPr>
            <p:ph type="ctrTitle"/>
          </p:nvPr>
        </p:nvSpPr>
        <p:spPr>
          <a:xfrm>
            <a:off x="657532" y="2063526"/>
            <a:ext cx="6407150" cy="18466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defTabSz="1219170">
              <a:defRPr/>
            </a:pPr>
            <a:r>
              <a:rPr lang="en-US" sz="2400" dirty="0">
                <a:ea typeface="Apis For Office Light"/>
                <a:cs typeface="Apis For Office Light"/>
              </a:rPr>
              <a:t>Pooled Analysis of STEP-HFpEF and STEP-HFpEF DM randomized trials </a:t>
            </a:r>
          </a:p>
          <a:p>
            <a:pPr algn="r" defTabSz="1219170">
              <a:defRPr/>
            </a:pPr>
            <a:r>
              <a:rPr lang="en-US" sz="2400" dirty="0">
                <a:ea typeface="Apis For Office Light"/>
                <a:cs typeface="Apis For Office Light"/>
              </a:rPr>
              <a:t>&amp;</a:t>
            </a:r>
          </a:p>
          <a:p>
            <a:pPr algn="r" defTabSz="1219170">
              <a:defRPr/>
            </a:pPr>
            <a:r>
              <a:rPr lang="en-US" sz="2400" dirty="0">
                <a:ea typeface="Apis For Office Light"/>
                <a:cs typeface="Apis For Office Light"/>
              </a:rPr>
              <a:t>Findings from the STEP-HFpEF </a:t>
            </a:r>
            <a:r>
              <a:rPr lang="en-US" sz="2400" dirty="0" err="1">
                <a:ea typeface="Apis For Office Light"/>
                <a:cs typeface="Apis For Office Light"/>
              </a:rPr>
              <a:t>Programme</a:t>
            </a:r>
            <a:r>
              <a:rPr lang="en-US" sz="2400" dirty="0">
                <a:ea typeface="Apis For Office Light"/>
                <a:cs typeface="Apis For Office Light"/>
              </a:rPr>
              <a:t> Across the Age Spectrum</a:t>
            </a:r>
          </a:p>
        </p:txBody>
      </p:sp>
      <p:sp>
        <p:nvSpPr>
          <p:cNvPr id="20" name="Text Placeholder 1">
            <a:extLst>
              <a:ext uri="{FF2B5EF4-FFF2-40B4-BE49-F238E27FC236}">
                <a16:creationId xmlns:a16="http://schemas.microsoft.com/office/drawing/2014/main" id="{79F03F2E-085A-C929-6DE0-802A453DFE45}"/>
              </a:ext>
            </a:extLst>
          </p:cNvPr>
          <p:cNvSpPr txBox="1">
            <a:spLocks noGrp="1"/>
          </p:cNvSpPr>
          <p:nvPr>
            <p:ph type="body" sz="quarter" idx="17"/>
          </p:nvPr>
        </p:nvSpPr>
        <p:spPr>
          <a:xfrm>
            <a:off x="571500" y="5581055"/>
            <a:ext cx="6407150" cy="675217"/>
          </a:xfrm>
          <a:prstGeom prst="rect">
            <a:avLst/>
          </a:prstGeom>
        </p:spPr>
        <p:txBody>
          <a:bodyPr lIns="91440" tIns="45720" rIns="91440" bIns="45720" anchor="t"/>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269875" indent="-269875">
              <a:buNone/>
            </a:pPr>
            <a:r>
              <a:rPr lang="en-US" sz="1050" dirty="0">
                <a:solidFill>
                  <a:schemeClr val="bg1"/>
                </a:solidFill>
                <a:ea typeface="+mn-lt"/>
                <a:cs typeface="+mn-lt"/>
              </a:rPr>
              <a:t>Butler, Javed et al. </a:t>
            </a:r>
            <a:r>
              <a:rPr lang="en-US" sz="1050" i="1" dirty="0">
                <a:solidFill>
                  <a:schemeClr val="bg1"/>
                </a:solidFill>
                <a:ea typeface="+mn-lt"/>
                <a:cs typeface="+mn-lt"/>
              </a:rPr>
              <a:t>Lancet (London, England)</a:t>
            </a:r>
            <a:r>
              <a:rPr lang="en-US" sz="1050" dirty="0">
                <a:solidFill>
                  <a:schemeClr val="bg1"/>
                </a:solidFill>
                <a:ea typeface="+mn-lt"/>
                <a:cs typeface="+mn-lt"/>
              </a:rPr>
              <a:t> vol. 403,10437 (2024): 1635-1648. doi:10.1016/S0140-6736(24)00469-0</a:t>
            </a:r>
            <a:endParaRPr lang="en-US" sz="1050" dirty="0">
              <a:solidFill>
                <a:schemeClr val="bg1"/>
              </a:solidFill>
              <a:ea typeface="Apis For Office"/>
              <a:cs typeface="Apis For Office"/>
            </a:endParaRPr>
          </a:p>
          <a:p>
            <a:pPr marL="269875" indent="-269875">
              <a:buNone/>
            </a:pPr>
            <a:r>
              <a:rPr lang="en-US" sz="1050" dirty="0" err="1">
                <a:solidFill>
                  <a:schemeClr val="bg1"/>
                </a:solidFill>
                <a:latin typeface="Apis For Office"/>
                <a:ea typeface="Apis For Office"/>
                <a:cs typeface="Apis For Office"/>
              </a:rPr>
              <a:t>Eur</a:t>
            </a:r>
            <a:r>
              <a:rPr lang="en-US" sz="1050" dirty="0">
                <a:solidFill>
                  <a:schemeClr val="bg1"/>
                </a:solidFill>
                <a:latin typeface="Apis For Office"/>
                <a:ea typeface="Apis For Office"/>
                <a:cs typeface="Apis For Office"/>
              </a:rPr>
              <a:t> J Heart Fail. 2025 Nov 25;27(11):2537–2543. </a:t>
            </a:r>
            <a:r>
              <a:rPr lang="en-US" sz="1050" dirty="0" err="1">
                <a:solidFill>
                  <a:schemeClr val="bg1"/>
                </a:solidFill>
                <a:latin typeface="Apis For Office"/>
                <a:ea typeface="Apis For Office"/>
                <a:cs typeface="Apis For Office"/>
              </a:rPr>
              <a:t>doi</a:t>
            </a:r>
            <a:r>
              <a:rPr lang="en-US" sz="1050" dirty="0">
                <a:solidFill>
                  <a:schemeClr val="bg1"/>
                </a:solidFill>
                <a:latin typeface="Apis For Office"/>
                <a:ea typeface="Apis For Office"/>
                <a:cs typeface="Apis For Office"/>
              </a:rPr>
              <a:t>: 10.1002/ejhf.70049</a:t>
            </a:r>
            <a:endParaRPr lang="en-US" dirty="0"/>
          </a:p>
        </p:txBody>
      </p:sp>
      <p:sp>
        <p:nvSpPr>
          <p:cNvPr id="21" name="TextBox 20">
            <a:extLst>
              <a:ext uri="{FF2B5EF4-FFF2-40B4-BE49-F238E27FC236}">
                <a16:creationId xmlns:a16="http://schemas.microsoft.com/office/drawing/2014/main" id="{9AFFC4E1-0062-DC0C-C034-6CBA12599CB1}"/>
              </a:ext>
            </a:extLst>
          </p:cNvPr>
          <p:cNvSpPr txBox="1"/>
          <p:nvPr/>
        </p:nvSpPr>
        <p:spPr>
          <a:xfrm>
            <a:off x="725333" y="392656"/>
            <a:ext cx="6253317" cy="308931"/>
          </a:xfrm>
          <a:prstGeom prst="rect">
            <a:avLst/>
          </a:prstGeom>
          <a:noFill/>
        </p:spPr>
        <p:txBody>
          <a:bodyPr wrap="square" lIns="0" tIns="0" rIns="0" bIns="0" rtlCol="0">
            <a:spAutoFit/>
          </a:bodyPr>
          <a:lstStyle/>
          <a:p>
            <a:pPr algn="l">
              <a:lnSpc>
                <a:spcPct val="120000"/>
              </a:lnSpc>
            </a:pPr>
            <a:r>
              <a:rPr lang="en-US" sz="1800" b="1" dirty="0">
                <a:solidFill>
                  <a:schemeClr val="bg1"/>
                </a:solidFill>
              </a:rPr>
              <a:t>This presentation was developed by Novo Nordisk Inc.</a:t>
            </a:r>
          </a:p>
        </p:txBody>
      </p:sp>
    </p:spTree>
    <p:extLst>
      <p:ext uri="{BB962C8B-B14F-4D97-AF65-F5344CB8AC3E}">
        <p14:creationId xmlns:p14="http://schemas.microsoft.com/office/powerpoint/2010/main" val="31507064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093532-1AB0-EFD6-5A59-A35FFB4FFAD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BB093532-1AB0-EFD6-5A59-A35FFB4FFAD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8000" y="210773"/>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2</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8" y="6150625"/>
            <a:ext cx="9994601" cy="324000"/>
          </a:xfrm>
        </p:spPr>
        <p:txBody>
          <a:bodyPr/>
          <a:lstStyle/>
          <a:p>
            <a:pPr marL="0" indent="0">
              <a:buNone/>
            </a:pPr>
            <a:r>
              <a:rPr lang="en-CA"/>
              <a:t>Abbreviations: GLP-1, glucagon-like peptide-1.</a:t>
            </a:r>
            <a:br>
              <a:rPr lang="en-CA"/>
            </a:br>
            <a:r>
              <a:rPr lang="en-CA" err="1"/>
              <a:t>Wegovy</a:t>
            </a:r>
            <a:r>
              <a:rPr lang="en-CA" baseline="30000"/>
              <a:t>®</a:t>
            </a:r>
            <a:r>
              <a:rPr lang="en-CA"/>
              <a:t> [package insert]. Novo Nordisk Inc.</a:t>
            </a:r>
          </a:p>
        </p:txBody>
      </p:sp>
      <p:sp>
        <p:nvSpPr>
          <p:cNvPr id="6" name="Rectangle 5">
            <a:extLst>
              <a:ext uri="{FF2B5EF4-FFF2-40B4-BE49-F238E27FC236}">
                <a16:creationId xmlns:a16="http://schemas.microsoft.com/office/drawing/2014/main" id="{CF933326-1F3F-4DD6-B310-8D1F8519272C}"/>
              </a:ext>
            </a:extLst>
          </p:cNvPr>
          <p:cNvSpPr/>
          <p:nvPr/>
        </p:nvSpPr>
        <p:spPr>
          <a:xfrm>
            <a:off x="647700" y="973899"/>
            <a:ext cx="10896600" cy="4391025"/>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2000" b="1" i="0">
                <a:solidFill>
                  <a:schemeClr val="tx2"/>
                </a:solidFill>
                <a:effectLst/>
              </a:rPr>
              <a:t>Acute Pancreatitis</a:t>
            </a:r>
          </a:p>
          <a:p>
            <a:pPr>
              <a:spcAft>
                <a:spcPts val="600"/>
              </a:spcAft>
            </a:pPr>
            <a:r>
              <a:rPr lang="en-US" i="0">
                <a:solidFill>
                  <a:schemeClr val="tx2"/>
                </a:solidFill>
                <a:effectLst/>
              </a:rPr>
              <a:t>Acute pancreatitis, including fatal and non-fatal hemorrhagic or necrotizing pancreatitis, has been observed in patients treated with GLP-1 receptor agonists, including WEGOVY [see Adverse Reactions (6)]. After initiation of WEGOVY, observe patients carefully for signs and symptoms of acute pancreatitis, which may include persistent or severe abdominal pain, (sometimes radiating to the back), and which may or may not be accompanied by nausea or vomiting</a:t>
            </a:r>
            <a:r>
              <a:rPr lang="en-US">
                <a:solidFill>
                  <a:schemeClr val="tx2"/>
                </a:solidFill>
              </a:rPr>
              <a:t>.</a:t>
            </a:r>
            <a:r>
              <a:rPr lang="en-US" i="0">
                <a:solidFill>
                  <a:schemeClr val="tx2"/>
                </a:solidFill>
                <a:effectLst/>
              </a:rPr>
              <a:t> If acute pancreatitis is suspected, discontinue WEGOVY and initiate appropriate management.</a:t>
            </a:r>
          </a:p>
        </p:txBody>
      </p:sp>
      <p:sp>
        <p:nvSpPr>
          <p:cNvPr id="4" name="Rectangle 3">
            <a:extLst>
              <a:ext uri="{FF2B5EF4-FFF2-40B4-BE49-F238E27FC236}">
                <a16:creationId xmlns:a16="http://schemas.microsoft.com/office/drawing/2014/main" id="{D17D88E5-7457-3283-A4D2-134091D75B81}"/>
              </a:ext>
            </a:extLst>
          </p:cNvPr>
          <p:cNvSpPr/>
          <p:nvPr/>
        </p:nvSpPr>
        <p:spPr>
          <a:xfrm>
            <a:off x="647700" y="5428818"/>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chemeClr val="bg1"/>
                </a:solidFill>
                <a:latin typeface="Apis For Office"/>
                <a:ea typeface="Apis For Office"/>
                <a:cs typeface="Apis For Office"/>
                <a:sym typeface="Apis For Office" panose="020B0504010101010104" pitchFamily="34" charset="0"/>
              </a:rPr>
              <a:t> in</a:t>
            </a:r>
            <a:r>
              <a:rPr lang="en-GB" sz="1200" noProof="0">
                <a:solidFill>
                  <a:schemeClr val="bg1"/>
                </a:solidFill>
                <a:latin typeface="Apis For Office"/>
                <a:ea typeface="Apis For Office"/>
                <a:cs typeface="Apis For Office"/>
                <a:sym typeface="Apis For Office" panose="020B0504010101010104" pitchFamily="34" charset="0"/>
              </a:rPr>
              <a:t>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7" name="Picture 6">
            <a:extLst>
              <a:ext uri="{FF2B5EF4-FFF2-40B4-BE49-F238E27FC236}">
                <a16:creationId xmlns:a16="http://schemas.microsoft.com/office/drawing/2014/main" id="{E7CC845F-B712-C2B6-E959-FFD4A48C5DFE}"/>
              </a:ext>
            </a:extLst>
          </p:cNvPr>
          <p:cNvPicPr>
            <a:picLocks noChangeAspect="1"/>
          </p:cNvPicPr>
          <p:nvPr/>
        </p:nvPicPr>
        <p:blipFill>
          <a:blip r:embed="rId9"/>
          <a:stretch>
            <a:fillRect/>
          </a:stretch>
        </p:blipFill>
        <p:spPr>
          <a:xfrm>
            <a:off x="10680378" y="5422326"/>
            <a:ext cx="656086" cy="627332"/>
          </a:xfrm>
          <a:prstGeom prst="rect">
            <a:avLst/>
          </a:prstGeom>
        </p:spPr>
      </p:pic>
    </p:spTree>
    <p:custDataLst>
      <p:tags r:id="rId1"/>
    </p:custDataLst>
    <p:extLst>
      <p:ext uri="{BB962C8B-B14F-4D97-AF65-F5344CB8AC3E}">
        <p14:creationId xmlns:p14="http://schemas.microsoft.com/office/powerpoint/2010/main" val="1490598562"/>
      </p:ext>
    </p:extLst>
  </p:cSld>
  <p:clrMapOvr>
    <a:masterClrMapping/>
  </p:clrMapOvr>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3E294F-F06F-2691-542B-F58A77C046D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B63E294F-F06F-2691-542B-F58A77C046D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7700" y="221060"/>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3</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7" y="6150625"/>
            <a:ext cx="10896600" cy="324000"/>
          </a:xfrm>
        </p:spPr>
        <p:txBody>
          <a:bodyPr/>
          <a:lstStyle/>
          <a:p>
            <a:pPr marL="0" indent="0">
              <a:buNone/>
            </a:pPr>
            <a:r>
              <a:rPr lang="en-CA"/>
              <a:t>Wegovy</a:t>
            </a:r>
            <a:r>
              <a:rPr lang="en-CA" baseline="30000"/>
              <a:t>®</a:t>
            </a:r>
            <a:r>
              <a:rPr lang="en-CA"/>
              <a:t> [package insert]. Novo Nordisk Inc.</a:t>
            </a:r>
          </a:p>
        </p:txBody>
      </p:sp>
      <p:sp>
        <p:nvSpPr>
          <p:cNvPr id="11" name="Rectangle 10">
            <a:extLst>
              <a:ext uri="{FF2B5EF4-FFF2-40B4-BE49-F238E27FC236}">
                <a16:creationId xmlns:a16="http://schemas.microsoft.com/office/drawing/2014/main" id="{2CF64169-825E-4091-B83B-A9AF58EC647B}"/>
              </a:ext>
            </a:extLst>
          </p:cNvPr>
          <p:cNvSpPr/>
          <p:nvPr/>
        </p:nvSpPr>
        <p:spPr>
          <a:xfrm>
            <a:off x="647700" y="1057274"/>
            <a:ext cx="10896600" cy="4392613"/>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2000" b="1" i="0">
                <a:solidFill>
                  <a:schemeClr val="tx2"/>
                </a:solidFill>
                <a:effectLst/>
              </a:rPr>
              <a:t>Acute Gallbladder Disease</a:t>
            </a:r>
          </a:p>
          <a:p>
            <a:pPr>
              <a:spcAft>
                <a:spcPts val="600"/>
              </a:spcAft>
            </a:pPr>
            <a:r>
              <a:rPr lang="en-US" i="0">
                <a:solidFill>
                  <a:srgbClr val="001965"/>
                </a:solidFill>
                <a:effectLst/>
              </a:rPr>
              <a:t>Treatment with WEGOVY is associated with an increased occurrence of cholelithiasis and cholecystitis. The incidence of cholelithiasis and cholecystitis was higher in WEGOV</a:t>
            </a:r>
            <a:r>
              <a:rPr lang="en-US">
                <a:solidFill>
                  <a:srgbClr val="001965"/>
                </a:solidFill>
              </a:rPr>
              <a:t>Y injection</a:t>
            </a:r>
            <a:r>
              <a:rPr lang="en-US" i="0">
                <a:solidFill>
                  <a:srgbClr val="001965"/>
                </a:solidFill>
                <a:effectLst/>
              </a:rPr>
              <a:t>-treated pediatric patients aged 12 years and older than in WEGOVY injection-treated adults. In randomized clinical trials in adults for weight reduction, cholelithiasis was reported by 1.6% of WEGOVY injection-treated patients and 0.7% of placebo injection-treated patients. Cholecystitis was reported by 0.6% of WEGOVY injection-treated adult patients and 0.2% of placebo injection-treated patients. In a clinical trial in pediatric patients aged 12 years and older for weight reduction, cholelithiasis was reported by 3.8% of WEGOVY injection-treated patients and 0% placebo</a:t>
            </a:r>
            <a:r>
              <a:rPr lang="en-US">
                <a:solidFill>
                  <a:srgbClr val="001965"/>
                </a:solidFill>
              </a:rPr>
              <a:t> injection</a:t>
            </a:r>
            <a:r>
              <a:rPr lang="en-US" i="0">
                <a:solidFill>
                  <a:srgbClr val="001965"/>
                </a:solidFill>
                <a:effectLst/>
              </a:rPr>
              <a:t>-treated patients. Cholecystitis was reported by 0.8% of WEGOVY injection-treated pediatric patients and 0% placebo injection-treated patients [see Adverse Reactions (6.1)].</a:t>
            </a:r>
          </a:p>
          <a:p>
            <a:pPr>
              <a:spcAft>
                <a:spcPts val="600"/>
              </a:spcAft>
            </a:pPr>
            <a:r>
              <a:rPr lang="en-US" i="0">
                <a:solidFill>
                  <a:srgbClr val="001965"/>
                </a:solidFill>
                <a:effectLst/>
              </a:rPr>
              <a:t>Substantial or rapid weight loss can increase the risk of cholelithiasis; however, the incidence of acute gallbladder disease was greater in WEGOVY-treated patients than in placebo-treated patients, even after accounting for the degree of weight loss. If cholelithiasis is suspected, gallbladder studies and appropriate clinical follow-up are indicated.</a:t>
            </a:r>
            <a:endParaRPr lang="en-US" b="1" i="0">
              <a:solidFill>
                <a:srgbClr val="001965"/>
              </a:solidFill>
              <a:effectLst/>
            </a:endParaRPr>
          </a:p>
        </p:txBody>
      </p:sp>
      <p:sp>
        <p:nvSpPr>
          <p:cNvPr id="7" name="Rectangle 6">
            <a:extLst>
              <a:ext uri="{FF2B5EF4-FFF2-40B4-BE49-F238E27FC236}">
                <a16:creationId xmlns:a16="http://schemas.microsoft.com/office/drawing/2014/main" id="{253AD490-5080-31AD-4D99-70CE5C64D3DC}"/>
              </a:ext>
            </a:extLst>
          </p:cNvPr>
          <p:cNvSpPr/>
          <p:nvPr/>
        </p:nvSpPr>
        <p:spPr>
          <a:xfrm>
            <a:off x="648003" y="5523306"/>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a:t>
            </a:r>
            <a:r>
              <a:rPr lang="en-GB" sz="1200">
                <a:latin typeface="Apis For Office"/>
                <a:ea typeface="Apis For Office"/>
                <a:cs typeface="Apis For Office"/>
                <a:sym typeface="Apis For Office" panose="020B0504010101010104" pitchFamily="34" charset="0"/>
              </a:rPr>
              <a:t>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latin typeface="Apis For Office"/>
                <a:ea typeface="Apis For Office"/>
                <a:cs typeface="Apis For Office"/>
                <a:sym typeface="Apis For Office" panose="020B0504010101010104" pitchFamily="34" charset="0"/>
              </a:rPr>
              <a:t> i</a:t>
            </a:r>
            <a:r>
              <a:rPr lang="en-GB" sz="1200">
                <a:solidFill>
                  <a:schemeClr val="bg1"/>
                </a:solidFill>
                <a:latin typeface="Apis For Office"/>
                <a:ea typeface="Apis For Office"/>
                <a:cs typeface="Apis For Office"/>
                <a:sym typeface="Apis For Office" panose="020B0504010101010104" pitchFamily="34" charset="0"/>
              </a:rPr>
              <a:t>n</a:t>
            </a:r>
            <a:r>
              <a:rPr lang="en-GB" sz="1200" noProof="0">
                <a:solidFill>
                  <a:schemeClr val="bg1"/>
                </a:solidFill>
                <a:latin typeface="Apis For Office"/>
                <a:ea typeface="Apis For Office"/>
                <a:cs typeface="Apis For Office"/>
                <a:sym typeface="Apis For Office" panose="020B0504010101010104" pitchFamily="34" charset="0"/>
              </a:rPr>
              <a:t>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8" name="Picture 7">
            <a:extLst>
              <a:ext uri="{FF2B5EF4-FFF2-40B4-BE49-F238E27FC236}">
                <a16:creationId xmlns:a16="http://schemas.microsoft.com/office/drawing/2014/main" id="{43FE342A-0613-1BAC-4E5F-FECEE6592458}"/>
              </a:ext>
            </a:extLst>
          </p:cNvPr>
          <p:cNvPicPr>
            <a:picLocks noChangeAspect="1"/>
          </p:cNvPicPr>
          <p:nvPr/>
        </p:nvPicPr>
        <p:blipFill>
          <a:blip r:embed="rId9"/>
          <a:stretch>
            <a:fillRect/>
          </a:stretch>
        </p:blipFill>
        <p:spPr>
          <a:xfrm>
            <a:off x="10766945" y="5545569"/>
            <a:ext cx="612954" cy="670463"/>
          </a:xfrm>
          <a:prstGeom prst="rect">
            <a:avLst/>
          </a:prstGeom>
        </p:spPr>
      </p:pic>
    </p:spTree>
    <p:custDataLst>
      <p:tags r:id="rId1"/>
    </p:custDataLst>
    <p:extLst>
      <p:ext uri="{BB962C8B-B14F-4D97-AF65-F5344CB8AC3E}">
        <p14:creationId xmlns:p14="http://schemas.microsoft.com/office/powerpoint/2010/main" val="2141285573"/>
      </p:ext>
    </p:extLst>
  </p:cSld>
  <p:clrMapOvr>
    <a:masterClrMapping/>
  </p:clrMapOvr>
  <p:extLst>
    <p:ext uri="{6950BFC3-D8DA-4A85-94F7-54DA5524770B}">
      <p188:commentRel xmlns:p188="http://schemas.microsoft.com/office/powerpoint/2018/8/main"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CDDC03-A864-578C-5F94-A18B731BB09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44CDDC03-A864-578C-5F94-A18B731BB09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7997" y="268560"/>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4</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7" y="6150625"/>
            <a:ext cx="10896600" cy="324000"/>
          </a:xfrm>
        </p:spPr>
        <p:txBody>
          <a:bodyPr/>
          <a:lstStyle/>
          <a:p>
            <a:pPr marL="0" indent="0">
              <a:buNone/>
            </a:pPr>
            <a:r>
              <a:rPr lang="en-CA"/>
              <a:t>Abbreviations: BMI, body mass index.</a:t>
            </a:r>
            <a:br>
              <a:rPr lang="en-CA"/>
            </a:br>
            <a:r>
              <a:rPr lang="en-CA"/>
              <a:t>Wegovy</a:t>
            </a:r>
            <a:r>
              <a:rPr lang="en-CA" baseline="30000"/>
              <a:t>®</a:t>
            </a:r>
            <a:r>
              <a:rPr lang="en-CA"/>
              <a:t> [package insert]. Novo Nordisk Inc.</a:t>
            </a:r>
          </a:p>
        </p:txBody>
      </p:sp>
      <p:sp>
        <p:nvSpPr>
          <p:cNvPr id="12" name="Rectangle 11">
            <a:extLst>
              <a:ext uri="{FF2B5EF4-FFF2-40B4-BE49-F238E27FC236}">
                <a16:creationId xmlns:a16="http://schemas.microsoft.com/office/drawing/2014/main" id="{C5C9E6A0-6926-481C-8E8D-25BF17076A4A}"/>
              </a:ext>
            </a:extLst>
          </p:cNvPr>
          <p:cNvSpPr/>
          <p:nvPr/>
        </p:nvSpPr>
        <p:spPr>
          <a:xfrm>
            <a:off x="647700" y="1000249"/>
            <a:ext cx="10896600" cy="4392613"/>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800"/>
              </a:spcAft>
            </a:pPr>
            <a:r>
              <a:rPr lang="en-US" sz="2000" b="1" i="0" dirty="0">
                <a:solidFill>
                  <a:schemeClr val="tx2"/>
                </a:solidFill>
                <a:effectLst/>
              </a:rPr>
              <a:t>Hypoglycemia</a:t>
            </a:r>
            <a:endParaRPr lang="en-US" sz="2400" b="1" i="0" dirty="0">
              <a:solidFill>
                <a:schemeClr val="tx2"/>
              </a:solidFill>
              <a:effectLst/>
            </a:endParaRPr>
          </a:p>
          <a:p>
            <a:pPr>
              <a:spcAft>
                <a:spcPts val="800"/>
              </a:spcAft>
            </a:pPr>
            <a:r>
              <a:rPr lang="en-US" sz="1500" i="0" dirty="0">
                <a:solidFill>
                  <a:schemeClr val="tx2"/>
                </a:solidFill>
                <a:effectLst/>
              </a:rPr>
              <a:t>WEGOVY lowers blood glucose and can cause hypoglycemia.</a:t>
            </a:r>
          </a:p>
          <a:p>
            <a:pPr>
              <a:spcAft>
                <a:spcPts val="800"/>
              </a:spcAft>
            </a:pPr>
            <a:r>
              <a:rPr lang="en-US" sz="1500" i="0" dirty="0">
                <a:solidFill>
                  <a:srgbClr val="001965"/>
                </a:solidFill>
                <a:effectLst/>
              </a:rPr>
              <a:t>In a trial of WEGOVY injection in adult patients with type 2 diabetes and body mass index (BMI) greater than or equal to 27 kg/m</a:t>
            </a:r>
            <a:r>
              <a:rPr lang="en-US" sz="1500" i="0" baseline="30000" dirty="0">
                <a:solidFill>
                  <a:srgbClr val="001965"/>
                </a:solidFill>
                <a:effectLst/>
              </a:rPr>
              <a:t>2 </a:t>
            </a:r>
            <a:r>
              <a:rPr lang="en-US" sz="1500" i="0" dirty="0">
                <a:solidFill>
                  <a:srgbClr val="001965"/>
                </a:solidFill>
                <a:effectLst/>
              </a:rPr>
              <a:t>for weight reduction (Study 3), hypoglycemia (defined as a plasma glucose less than 54 mg/dL) was reported in more patients treated with WEGOVY versus placebo. One episode of severe hypoglycemia (requiring the assistance of another person) was reported in one WEGOVY-treated patient versus no placebo-treated patients [see Clinical Studies (14.2)].</a:t>
            </a:r>
            <a:endParaRPr lang="en-US" sz="1500" dirty="0">
              <a:solidFill>
                <a:srgbClr val="001965"/>
              </a:solidFill>
            </a:endParaRPr>
          </a:p>
          <a:p>
            <a:pPr>
              <a:spcAft>
                <a:spcPts val="800"/>
              </a:spcAft>
            </a:pPr>
            <a:r>
              <a:rPr lang="en-GB" sz="1500" i="0" dirty="0">
                <a:solidFill>
                  <a:srgbClr val="001965"/>
                </a:solidFill>
                <a:effectLst/>
              </a:rPr>
              <a:t>In </a:t>
            </a:r>
            <a:r>
              <a:rPr lang="en-GB" sz="1500" i="0" dirty="0" err="1">
                <a:solidFill>
                  <a:srgbClr val="001965"/>
                </a:solidFill>
                <a:effectLst/>
              </a:rPr>
              <a:t>glycemic</a:t>
            </a:r>
            <a:r>
              <a:rPr lang="en-GB" sz="1500" i="0" dirty="0">
                <a:solidFill>
                  <a:srgbClr val="001965"/>
                </a:solidFill>
                <a:effectLst/>
              </a:rPr>
              <a:t> control clinical trials, the risk of </a:t>
            </a:r>
            <a:r>
              <a:rPr lang="en-GB" sz="1500" i="0" dirty="0" err="1">
                <a:solidFill>
                  <a:srgbClr val="001965"/>
                </a:solidFill>
                <a:effectLst/>
              </a:rPr>
              <a:t>hypoglycemia</a:t>
            </a:r>
            <a:r>
              <a:rPr lang="en-GB" sz="1500" i="0" dirty="0">
                <a:solidFill>
                  <a:srgbClr val="001965"/>
                </a:solidFill>
                <a:effectLst/>
              </a:rPr>
              <a:t> was increased when semaglutide injection or tablet was used concomitantly with insulin or an insulin secretagogue (e.g., sulfonylurea). </a:t>
            </a:r>
            <a:r>
              <a:rPr lang="en-US" sz="1500" i="0" dirty="0">
                <a:solidFill>
                  <a:srgbClr val="001965"/>
                </a:solidFill>
                <a:effectLst/>
              </a:rPr>
              <a:t>Patients with diabetes mellitus taking WEGOVY in combination with insulin or an insulin secretagogue may have an increased risk of hypoglycemia, including severe hypoglycemia. The use of WEGOVY in patients with type 1 diabetes mellitus or in combination </a:t>
            </a:r>
            <a:r>
              <a:rPr lang="en-US" sz="1500" i="0" dirty="0">
                <a:solidFill>
                  <a:schemeClr val="tx2"/>
                </a:solidFill>
                <a:effectLst/>
              </a:rPr>
              <a:t>with insulin has not been evaluated.</a:t>
            </a:r>
            <a:endParaRPr lang="en-US" sz="1500" dirty="0">
              <a:solidFill>
                <a:schemeClr val="tx2"/>
              </a:solidFill>
            </a:endParaRPr>
          </a:p>
          <a:p>
            <a:pPr>
              <a:spcAft>
                <a:spcPts val="800"/>
              </a:spcAft>
            </a:pPr>
            <a:r>
              <a:rPr lang="en-US" sz="1500" i="0" dirty="0">
                <a:solidFill>
                  <a:schemeClr val="tx2"/>
                </a:solidFill>
                <a:effectLst/>
              </a:rPr>
              <a:t>Inform patients of the risk of hypoglycemia and educate them on the signs and symptoms of hypoglycemia. In patients with diabetes, monitor blood glucose prior to starting WEGOVY and during WEGOVY treatment. When initiating WEGOVY, consider reducing the dose of concomitantly administered insulin or insulin secretagogue (such as sulfonylureas) to reduce the risk of hypoglycemia [see Drug Interactions (7.1)].</a:t>
            </a:r>
            <a:endParaRPr lang="en-US" sz="1500" dirty="0">
              <a:solidFill>
                <a:schemeClr val="tx2"/>
              </a:solidFill>
            </a:endParaRPr>
          </a:p>
        </p:txBody>
      </p:sp>
      <p:sp>
        <p:nvSpPr>
          <p:cNvPr id="4" name="Rectangle 3">
            <a:extLst>
              <a:ext uri="{FF2B5EF4-FFF2-40B4-BE49-F238E27FC236}">
                <a16:creationId xmlns:a16="http://schemas.microsoft.com/office/drawing/2014/main" id="{561C6D66-8C59-4A18-A452-5B9E393755D1}"/>
              </a:ext>
            </a:extLst>
          </p:cNvPr>
          <p:cNvSpPr/>
          <p:nvPr/>
        </p:nvSpPr>
        <p:spPr>
          <a:xfrm>
            <a:off x="648000" y="5443003"/>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a:latin typeface="Apis For Office"/>
                <a:ea typeface="Apis For Office"/>
                <a:cs typeface="Apis For Office"/>
                <a:sym typeface="Apis For Office" panose="020B0504010101010104" pitchFamily="34" charset="0"/>
              </a:rPr>
              <a:t>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6" name="Picture 5">
            <a:extLst>
              <a:ext uri="{FF2B5EF4-FFF2-40B4-BE49-F238E27FC236}">
                <a16:creationId xmlns:a16="http://schemas.microsoft.com/office/drawing/2014/main" id="{05C57764-925B-AF48-53C7-7DCBF2B23FCA}"/>
              </a:ext>
            </a:extLst>
          </p:cNvPr>
          <p:cNvPicPr>
            <a:picLocks noChangeAspect="1"/>
          </p:cNvPicPr>
          <p:nvPr/>
        </p:nvPicPr>
        <p:blipFill>
          <a:blip r:embed="rId9"/>
          <a:stretch>
            <a:fillRect/>
          </a:stretch>
        </p:blipFill>
        <p:spPr>
          <a:xfrm>
            <a:off x="10766942" y="5465266"/>
            <a:ext cx="584200" cy="641709"/>
          </a:xfrm>
          <a:prstGeom prst="rect">
            <a:avLst/>
          </a:prstGeom>
        </p:spPr>
      </p:pic>
    </p:spTree>
    <p:custDataLst>
      <p:tags r:id="rId1"/>
    </p:custDataLst>
    <p:extLst>
      <p:ext uri="{BB962C8B-B14F-4D97-AF65-F5344CB8AC3E}">
        <p14:creationId xmlns:p14="http://schemas.microsoft.com/office/powerpoint/2010/main" val="4133651059"/>
      </p:ext>
    </p:extLst>
  </p:cSld>
  <p:clrMapOvr>
    <a:masterClrMapping/>
  </p:clrMapOvr>
  <p:extLst>
    <p:ext uri="{6950BFC3-D8DA-4A85-94F7-54DA5524770B}">
      <p188:commentRel xmlns:p188="http://schemas.microsoft.com/office/powerpoint/2018/8/main" r:id="rId5"/>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F709B0-37EA-14F7-2129-C9F65AA1B6F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E8F709B0-37EA-14F7-2129-C9F65AA1B6F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7997" y="178950"/>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5 and 5.6 </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561672" y="6355050"/>
            <a:ext cx="10896600" cy="324000"/>
          </a:xfrm>
        </p:spPr>
        <p:txBody>
          <a:bodyPr/>
          <a:lstStyle/>
          <a:p>
            <a:pPr marL="0" indent="0">
              <a:buNone/>
            </a:pPr>
            <a:r>
              <a:rPr lang="en-CA" dirty="0" err="1"/>
              <a:t>Wegovy</a:t>
            </a:r>
            <a:r>
              <a:rPr lang="en-CA" baseline="30000"/>
              <a:t>®</a:t>
            </a:r>
            <a:r>
              <a:rPr lang="en-CA"/>
              <a:t> [package insert]. Novo Nordisk Inc.</a:t>
            </a:r>
          </a:p>
        </p:txBody>
      </p:sp>
      <p:sp>
        <p:nvSpPr>
          <p:cNvPr id="6" name="Rectangle 5">
            <a:extLst>
              <a:ext uri="{FF2B5EF4-FFF2-40B4-BE49-F238E27FC236}">
                <a16:creationId xmlns:a16="http://schemas.microsoft.com/office/drawing/2014/main" id="{F40F6308-B2E2-4406-AA52-215C957F5626}"/>
              </a:ext>
            </a:extLst>
          </p:cNvPr>
          <p:cNvSpPr/>
          <p:nvPr/>
        </p:nvSpPr>
        <p:spPr>
          <a:xfrm>
            <a:off x="562272" y="959797"/>
            <a:ext cx="10896600" cy="2269458"/>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i="0">
                <a:solidFill>
                  <a:schemeClr val="tx2"/>
                </a:solidFill>
                <a:effectLst/>
              </a:rPr>
              <a:t>Acute Kidney Injury Due to Volume Depletion </a:t>
            </a:r>
            <a:endParaRPr lang="en-US" sz="2000" b="1">
              <a:solidFill>
                <a:schemeClr val="tx2"/>
              </a:solidFill>
            </a:endParaRPr>
          </a:p>
          <a:p>
            <a:pPr>
              <a:spcAft>
                <a:spcPts val="600"/>
              </a:spcAft>
            </a:pPr>
            <a:r>
              <a:rPr lang="en-US" sz="1600" i="0">
                <a:solidFill>
                  <a:srgbClr val="001965"/>
                </a:solidFill>
                <a:effectLst/>
              </a:rPr>
              <a:t>There have been postmarketing reports of acute kidney injury, in some cases required hemodialysis, in patients treated with semaglutide</a:t>
            </a:r>
            <a:r>
              <a:rPr lang="en-US" sz="1600">
                <a:solidFill>
                  <a:srgbClr val="001965"/>
                </a:solidFill>
              </a:rPr>
              <a:t> [see Adverse Reactions (6)]</a:t>
            </a:r>
            <a:r>
              <a:rPr lang="en-US" sz="1600" i="0">
                <a:solidFill>
                  <a:srgbClr val="001965"/>
                </a:solidFill>
                <a:effectLst/>
              </a:rPr>
              <a:t>. The majority of the reported events occurred in patients who experienced gastrointestinal reactions leading to dehydration such as nausea, vomiting, or diarrhea [see Adverse Reactions (6)]. </a:t>
            </a:r>
          </a:p>
          <a:p>
            <a:pPr>
              <a:spcAft>
                <a:spcPts val="600"/>
              </a:spcAft>
            </a:pPr>
            <a:r>
              <a:rPr lang="en-US" sz="1600" i="0">
                <a:solidFill>
                  <a:srgbClr val="001965"/>
                </a:solidFill>
                <a:effectLst/>
              </a:rPr>
              <a:t>Monitor renal function in patients reporting adverse reactions to WEGOVY that could lead to volume depletion, especially during dosage initiation and escalation of WEGOVY. </a:t>
            </a:r>
          </a:p>
        </p:txBody>
      </p:sp>
      <p:sp>
        <p:nvSpPr>
          <p:cNvPr id="7" name="Rectangle 6">
            <a:extLst>
              <a:ext uri="{FF2B5EF4-FFF2-40B4-BE49-F238E27FC236}">
                <a16:creationId xmlns:a16="http://schemas.microsoft.com/office/drawing/2014/main" id="{7916D6E4-22AF-4B90-85E3-9F360F40F253}"/>
              </a:ext>
            </a:extLst>
          </p:cNvPr>
          <p:cNvSpPr/>
          <p:nvPr/>
        </p:nvSpPr>
        <p:spPr>
          <a:xfrm>
            <a:off x="562272" y="3394549"/>
            <a:ext cx="10896600" cy="2160023"/>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a:solidFill>
                  <a:schemeClr val="tx2"/>
                </a:solidFill>
              </a:rPr>
              <a:t>Severe Gastrointestinal Adverse Reactions</a:t>
            </a:r>
          </a:p>
          <a:p>
            <a:r>
              <a:rPr lang="en-US" sz="1600" i="0">
                <a:solidFill>
                  <a:srgbClr val="001965"/>
                </a:solidFill>
                <a:effectLst/>
              </a:rPr>
              <a:t>Use of WEGOVY has been associated with gastrointestinal adverse reactions, sometimes severe [see Adverse Reactions (6.1)]. In clinical trials </a:t>
            </a:r>
            <a:r>
              <a:rPr lang="en-US" sz="1600">
                <a:solidFill>
                  <a:srgbClr val="001965"/>
                </a:solidFill>
              </a:rPr>
              <a:t>for </a:t>
            </a:r>
            <a:r>
              <a:rPr lang="en-US" sz="1600" i="0">
                <a:solidFill>
                  <a:srgbClr val="001965"/>
                </a:solidFill>
                <a:effectLst/>
              </a:rPr>
              <a:t>adults for weight reduction, severe gastrointestinal adverse reactions were reported more frequently among patients receiving WEGOVY than placebo. Severe gastrointestinal adverse reactions </a:t>
            </a:r>
            <a:r>
              <a:rPr lang="en-GB" sz="1600" i="0">
                <a:solidFill>
                  <a:srgbClr val="001965"/>
                </a:solidFill>
                <a:effectLst/>
              </a:rPr>
              <a:t>were reported in 4.1% and 0.9% of WEGOVY-injection and placebo-treated patients, respectively,</a:t>
            </a:r>
          </a:p>
          <a:p>
            <a:r>
              <a:rPr lang="en-GB" sz="1600" i="0">
                <a:solidFill>
                  <a:srgbClr val="001965"/>
                </a:solidFill>
                <a:effectLst/>
              </a:rPr>
              <a:t>and in 2% of WEGOVY tablet-treated and 0% of placebo-treated patients, respectively. Severe gastrointestinal adverse reactions </a:t>
            </a:r>
            <a:r>
              <a:rPr lang="en-US" sz="1600" i="0">
                <a:solidFill>
                  <a:srgbClr val="001965"/>
                </a:solidFill>
                <a:effectLst/>
              </a:rPr>
              <a:t>have also been reported postmarketing with GLP-1 receptor agonists.</a:t>
            </a:r>
          </a:p>
          <a:p>
            <a:pPr>
              <a:spcAft>
                <a:spcPts val="600"/>
              </a:spcAft>
            </a:pPr>
            <a:r>
              <a:rPr lang="en-US" sz="1600" i="0">
                <a:solidFill>
                  <a:srgbClr val="001965"/>
                </a:solidFill>
                <a:effectLst/>
              </a:rPr>
              <a:t>WEGOVY is not recommended in patients with severe gastroparesis.</a:t>
            </a:r>
            <a:endParaRPr lang="en-US" sz="1600" b="1" i="0">
              <a:solidFill>
                <a:srgbClr val="001965"/>
              </a:solidFill>
              <a:effectLst/>
            </a:endParaRPr>
          </a:p>
        </p:txBody>
      </p:sp>
      <p:sp>
        <p:nvSpPr>
          <p:cNvPr id="4" name="Rectangle 3">
            <a:extLst>
              <a:ext uri="{FF2B5EF4-FFF2-40B4-BE49-F238E27FC236}">
                <a16:creationId xmlns:a16="http://schemas.microsoft.com/office/drawing/2014/main" id="{51C7F1DE-3CBB-10FC-54C0-FA78789C2E24}"/>
              </a:ext>
            </a:extLst>
          </p:cNvPr>
          <p:cNvSpPr/>
          <p:nvPr/>
        </p:nvSpPr>
        <p:spPr>
          <a:xfrm>
            <a:off x="562272" y="5626070"/>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chemeClr val="bg1"/>
                </a:solidFill>
                <a:latin typeface="Apis For Office"/>
                <a:ea typeface="Apis For Office"/>
                <a:cs typeface="Apis For Office"/>
                <a:sym typeface="Apis For Office" panose="020B0504010101010104" pitchFamily="34" charset="0"/>
              </a:rPr>
              <a:t> in</a:t>
            </a:r>
            <a:r>
              <a:rPr lang="en-GB" sz="1200" noProof="0">
                <a:solidFill>
                  <a:schemeClr val="bg1"/>
                </a:solidFill>
                <a:latin typeface="Apis For Office"/>
                <a:ea typeface="Apis For Office"/>
                <a:cs typeface="Apis For Office"/>
                <a:sym typeface="Apis For Office" panose="020B0504010101010104" pitchFamily="34" charset="0"/>
              </a:rPr>
              <a:t>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8" name="Picture 7">
            <a:extLst>
              <a:ext uri="{FF2B5EF4-FFF2-40B4-BE49-F238E27FC236}">
                <a16:creationId xmlns:a16="http://schemas.microsoft.com/office/drawing/2014/main" id="{AF4B2E29-B9E0-C64E-C6DF-768D86776C5C}"/>
              </a:ext>
            </a:extLst>
          </p:cNvPr>
          <p:cNvPicPr>
            <a:picLocks noChangeAspect="1"/>
          </p:cNvPicPr>
          <p:nvPr/>
        </p:nvPicPr>
        <p:blipFill>
          <a:blip r:embed="rId9"/>
          <a:stretch>
            <a:fillRect/>
          </a:stretch>
        </p:blipFill>
        <p:spPr>
          <a:xfrm>
            <a:off x="10681214" y="5648333"/>
            <a:ext cx="584200" cy="656086"/>
          </a:xfrm>
          <a:prstGeom prst="rect">
            <a:avLst/>
          </a:prstGeom>
        </p:spPr>
      </p:pic>
    </p:spTree>
    <p:custDataLst>
      <p:tags r:id="rId1"/>
    </p:custDataLst>
    <p:extLst>
      <p:ext uri="{BB962C8B-B14F-4D97-AF65-F5344CB8AC3E}">
        <p14:creationId xmlns:p14="http://schemas.microsoft.com/office/powerpoint/2010/main" val="1852215236"/>
      </p:ext>
    </p:extLst>
  </p:cSld>
  <p:clrMapOvr>
    <a:masterClrMapping/>
  </p:clrMapOvr>
  <p:extLst>
    <p:ext uri="{6950BFC3-D8DA-4A85-94F7-54DA5524770B}">
      <p188:commentRel xmlns:p188="http://schemas.microsoft.com/office/powerpoint/2018/8/main" r:id="rId5"/>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3A311F-2804-FEFA-E6A4-BA5806C2C69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533A311F-2804-FEFA-E6A4-BA5806C2C69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8000" y="648000"/>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7</a:t>
            </a:r>
            <a:r>
              <a:rPr lang="en-GB" sz="1600">
                <a:solidFill>
                  <a:srgbClr val="3B97DE"/>
                </a:solidFill>
                <a:latin typeface="Apis For Office"/>
              </a:rPr>
              <a:t> </a:t>
            </a: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8" y="6150625"/>
            <a:ext cx="9994601" cy="324000"/>
          </a:xfrm>
        </p:spPr>
        <p:txBody>
          <a:bodyPr/>
          <a:lstStyle/>
          <a:p>
            <a:pPr marL="0" indent="0">
              <a:buNone/>
            </a:pPr>
            <a:r>
              <a:rPr lang="en-CA"/>
              <a:t>Abbreviations: BMI, body mass index; GLP-1, glucagon-like peptide-1.</a:t>
            </a:r>
            <a:br>
              <a:rPr lang="en-CA"/>
            </a:br>
            <a:r>
              <a:rPr lang="en-CA" err="1"/>
              <a:t>Wegovy</a:t>
            </a:r>
            <a:r>
              <a:rPr lang="en-CA" baseline="30000"/>
              <a:t>®</a:t>
            </a:r>
            <a:r>
              <a:rPr lang="en-CA"/>
              <a:t> [package insert]. Novo Nordisk Inc.</a:t>
            </a:r>
          </a:p>
        </p:txBody>
      </p:sp>
      <p:sp>
        <p:nvSpPr>
          <p:cNvPr id="8" name="Rectangle 7">
            <a:extLst>
              <a:ext uri="{FF2B5EF4-FFF2-40B4-BE49-F238E27FC236}">
                <a16:creationId xmlns:a16="http://schemas.microsoft.com/office/drawing/2014/main" id="{7684B63F-2009-4007-8E11-5361F692C98F}"/>
              </a:ext>
            </a:extLst>
          </p:cNvPr>
          <p:cNvSpPr/>
          <p:nvPr/>
        </p:nvSpPr>
        <p:spPr>
          <a:xfrm>
            <a:off x="647700" y="1556200"/>
            <a:ext cx="10896600" cy="2968277"/>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i="0">
                <a:solidFill>
                  <a:schemeClr val="tx2"/>
                </a:solidFill>
                <a:effectLst/>
              </a:rPr>
              <a:t>Hypersensitivit</a:t>
            </a:r>
            <a:r>
              <a:rPr lang="en-US" sz="2000" b="1" i="0">
                <a:solidFill>
                  <a:schemeClr val="accent1"/>
                </a:solidFill>
                <a:effectLst/>
              </a:rPr>
              <a:t>y Reactions</a:t>
            </a:r>
          </a:p>
          <a:p>
            <a:pPr>
              <a:spcAft>
                <a:spcPts val="600"/>
              </a:spcAft>
            </a:pPr>
            <a:r>
              <a:rPr lang="en-US" sz="1600" i="0">
                <a:solidFill>
                  <a:schemeClr val="tx2"/>
                </a:solidFill>
                <a:effectLst/>
              </a:rPr>
              <a:t>Serious hypersensitivity reactions (e.g., anaphylaxis, angioedema) have been reported with WEGOVY. If hypersensitivity reactions occur, discontinue use of WEGOVY, treat promptly per standard of care, and monitor until signs and symptoms resolve. WEGOVY is contraindicated in patients with a prior serious hypersensitivity reaction to semaglutide or to any of the excipients in WEGOVY [see Adverse Reactions (6.2)].</a:t>
            </a:r>
          </a:p>
          <a:p>
            <a:pPr>
              <a:spcAft>
                <a:spcPts val="600"/>
              </a:spcAft>
            </a:pPr>
            <a:r>
              <a:rPr lang="en-US" sz="1600" i="0">
                <a:solidFill>
                  <a:schemeClr val="tx2"/>
                </a:solidFill>
                <a:effectLst/>
              </a:rPr>
              <a:t>Anaphylaxis and angioedema have been reported with other GLP-1 receptor agonists. Use caution in a patient</a:t>
            </a:r>
            <a:r>
              <a:rPr lang="en-US" sz="1600">
                <a:solidFill>
                  <a:schemeClr val="tx2"/>
                </a:solidFill>
              </a:rPr>
              <a:t> </a:t>
            </a:r>
            <a:r>
              <a:rPr lang="en-US" sz="1600" i="0">
                <a:solidFill>
                  <a:schemeClr val="tx2"/>
                </a:solidFill>
                <a:effectLst/>
              </a:rPr>
              <a:t>with a history of anaphylaxis or angioedema with another GLP-1 receptor agonist because it is unknown whether such patients will be predisposed to these reactions with WEGOVY.</a:t>
            </a:r>
          </a:p>
        </p:txBody>
      </p:sp>
      <p:sp>
        <p:nvSpPr>
          <p:cNvPr id="4" name="Rectangle 3">
            <a:extLst>
              <a:ext uri="{FF2B5EF4-FFF2-40B4-BE49-F238E27FC236}">
                <a16:creationId xmlns:a16="http://schemas.microsoft.com/office/drawing/2014/main" id="{3B52703A-32CC-314F-62BD-FDF337D6E594}"/>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a:t>
            </a:r>
            <a:r>
              <a:rPr lang="en-GB" sz="1200">
                <a:latin typeface="Apis For Office"/>
                <a:ea typeface="Apis For Office"/>
                <a:cs typeface="Apis For Office"/>
                <a:sym typeface="Apis For Office" panose="020B0504010101010104" pitchFamily="34" charset="0"/>
              </a:rPr>
              <a:t>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6" name="Picture 5">
            <a:extLst>
              <a:ext uri="{FF2B5EF4-FFF2-40B4-BE49-F238E27FC236}">
                <a16:creationId xmlns:a16="http://schemas.microsoft.com/office/drawing/2014/main" id="{84BE600B-BB14-FB1B-BCF1-6F9999AB1ECB}"/>
              </a:ext>
            </a:extLst>
          </p:cNvPr>
          <p:cNvPicPr>
            <a:picLocks noChangeAspect="1"/>
          </p:cNvPicPr>
          <p:nvPr/>
        </p:nvPicPr>
        <p:blipFill>
          <a:blip r:embed="rId9"/>
          <a:stretch>
            <a:fillRect/>
          </a:stretch>
        </p:blipFill>
        <p:spPr>
          <a:xfrm>
            <a:off x="10680676" y="5299905"/>
            <a:ext cx="670464" cy="656086"/>
          </a:xfrm>
          <a:prstGeom prst="rect">
            <a:avLst/>
          </a:prstGeom>
        </p:spPr>
      </p:pic>
    </p:spTree>
    <p:custDataLst>
      <p:tags r:id="rId1"/>
    </p:custDataLst>
    <p:extLst>
      <p:ext uri="{BB962C8B-B14F-4D97-AF65-F5344CB8AC3E}">
        <p14:creationId xmlns:p14="http://schemas.microsoft.com/office/powerpoint/2010/main" val="1547343282"/>
      </p:ext>
    </p:extLst>
  </p:cSld>
  <p:clrMapOvr>
    <a:masterClrMapping/>
  </p:clrMapOvr>
  <p:extLst>
    <p:ext uri="{6950BFC3-D8DA-4A85-94F7-54DA5524770B}">
      <p188:commentRel xmlns:p188="http://schemas.microsoft.com/office/powerpoint/2018/8/main" r:id="rId5"/>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93675B-6FBE-5690-B493-B5384CC022F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0593675B-6FBE-5690-B493-B5384CC022F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8000" y="276525"/>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8</a:t>
            </a:r>
            <a:r>
              <a:rPr lang="en-GB" sz="1600">
                <a:solidFill>
                  <a:srgbClr val="3B97DE"/>
                </a:solidFill>
                <a:latin typeface="Apis For Office"/>
              </a:rPr>
              <a:t> </a:t>
            </a: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8" y="6150625"/>
            <a:ext cx="9994601" cy="324000"/>
          </a:xfrm>
        </p:spPr>
        <p:txBody>
          <a:bodyPr/>
          <a:lstStyle/>
          <a:p>
            <a:pPr marL="0" indent="0">
              <a:buNone/>
            </a:pPr>
            <a:r>
              <a:rPr lang="en-CA"/>
              <a:t>Abbreviations: BMI, body mass index; CV, cardiovascular.</a:t>
            </a:r>
            <a:br>
              <a:rPr lang="en-CA"/>
            </a:br>
            <a:r>
              <a:rPr lang="en-CA"/>
              <a:t>Wegovy</a:t>
            </a:r>
            <a:r>
              <a:rPr lang="en-CA" baseline="30000"/>
              <a:t>®</a:t>
            </a:r>
            <a:r>
              <a:rPr lang="en-CA"/>
              <a:t> [package insert]. Novo Nordisk Inc.</a:t>
            </a:r>
          </a:p>
        </p:txBody>
      </p:sp>
      <p:sp>
        <p:nvSpPr>
          <p:cNvPr id="8" name="Rectangle 7">
            <a:extLst>
              <a:ext uri="{FF2B5EF4-FFF2-40B4-BE49-F238E27FC236}">
                <a16:creationId xmlns:a16="http://schemas.microsoft.com/office/drawing/2014/main" id="{7684B63F-2009-4007-8E11-5361F692C98F}"/>
              </a:ext>
            </a:extLst>
          </p:cNvPr>
          <p:cNvSpPr/>
          <p:nvPr/>
        </p:nvSpPr>
        <p:spPr>
          <a:xfrm>
            <a:off x="647700" y="1032306"/>
            <a:ext cx="10896600" cy="4206566"/>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i="0">
                <a:solidFill>
                  <a:schemeClr val="tx2"/>
                </a:solidFill>
                <a:effectLst/>
              </a:rPr>
              <a:t>Diabetic Retinopathy Complications in Patients with Type 2 Diabetes</a:t>
            </a:r>
          </a:p>
          <a:p>
            <a:pPr>
              <a:spcAft>
                <a:spcPts val="600"/>
              </a:spcAft>
            </a:pPr>
            <a:r>
              <a:rPr lang="en-US" sz="1400">
                <a:solidFill>
                  <a:srgbClr val="001965"/>
                </a:solidFill>
              </a:rPr>
              <a:t>In a 2-year trial with semaglutide 0.5 mg and 1 mg once-weekly injection in adult patients with type 2 diabetes and high CV risk, diabetic retinopathy complications (which was a 4-component adjudicated endpoint) occurred in patients treated with semaglutide injection (3%) compared to placebo (1.8%). The absolute risk increase for diabetic retinopathy complications was larger among patients with a history of diabetic retinopathy at baseline (semaglutide injection 8.2%, placebo 5.2%) than among patients without a known history of diabetic retinopathy (semaglutide injection 0.7%, placebo 0.4%).</a:t>
            </a:r>
          </a:p>
          <a:p>
            <a:pPr>
              <a:spcAft>
                <a:spcPts val="600"/>
              </a:spcAft>
            </a:pPr>
            <a:r>
              <a:rPr lang="en-US" sz="1400" i="0">
                <a:solidFill>
                  <a:srgbClr val="001965"/>
                </a:solidFill>
                <a:effectLst/>
              </a:rPr>
              <a:t>In a trial of adult patients with type 2 diabetes and BMI greater than or equal to 27 kg/m</a:t>
            </a:r>
            <a:r>
              <a:rPr lang="en-US" sz="1400" i="0" baseline="30000">
                <a:solidFill>
                  <a:srgbClr val="001965"/>
                </a:solidFill>
                <a:effectLst/>
              </a:rPr>
              <a:t>2</a:t>
            </a:r>
            <a:r>
              <a:rPr lang="en-US" sz="1400" i="0">
                <a:solidFill>
                  <a:srgbClr val="001965"/>
                </a:solidFill>
                <a:effectLst/>
              </a:rPr>
              <a:t> for weight reduction (Study 3), diabetic retinopathy was reported by 4% of WEGOVY injection-treated patients and 2.7% placebo-treated patients </a:t>
            </a:r>
            <a:r>
              <a:rPr lang="en-US" sz="1400">
                <a:solidFill>
                  <a:srgbClr val="001965"/>
                </a:solidFill>
                <a:effectLst/>
              </a:rPr>
              <a:t>[see Clinical Studies (14.2)].</a:t>
            </a:r>
          </a:p>
          <a:p>
            <a:pPr>
              <a:spcAft>
                <a:spcPts val="600"/>
              </a:spcAft>
            </a:pPr>
            <a:r>
              <a:rPr lang="en-GB" sz="1400">
                <a:solidFill>
                  <a:srgbClr val="001965"/>
                </a:solidFill>
                <a:effectLst/>
              </a:rPr>
              <a:t>In a </a:t>
            </a:r>
            <a:r>
              <a:rPr lang="en-GB" sz="1400" dirty="0" err="1">
                <a:solidFill>
                  <a:srgbClr val="001965"/>
                </a:solidFill>
                <a:effectLst/>
              </a:rPr>
              <a:t>glycemic</a:t>
            </a:r>
            <a:r>
              <a:rPr lang="en-GB" sz="1400">
                <a:solidFill>
                  <a:srgbClr val="001965"/>
                </a:solidFill>
                <a:effectLst/>
              </a:rPr>
              <a:t> control trial evaluating a dose comparable to the 9 mg dose and the 25 mg semaglutide tablet dose in patients with type 2 diabetes, a similar proportion of patients in each dose group reported diabetic retinopathy related adverse reactions during the trial; 1.3% and 1.9% of patients in the 9 mg and 25 mg semaglutide group, respectively, reported moderate-severe non-proliferative diabetic retinopathy events, and 0% and 0.4% reported proliferative retinopathy events, respectively.</a:t>
            </a:r>
            <a:endParaRPr lang="en-US" sz="1400">
              <a:solidFill>
                <a:srgbClr val="001965"/>
              </a:solidFill>
              <a:effectLst/>
            </a:endParaRPr>
          </a:p>
          <a:p>
            <a:pPr>
              <a:spcAft>
                <a:spcPts val="600"/>
              </a:spcAft>
            </a:pPr>
            <a:r>
              <a:rPr lang="en-US" sz="1400" i="0">
                <a:solidFill>
                  <a:srgbClr val="001965"/>
                </a:solidFill>
                <a:effectLst/>
              </a:rPr>
              <a:t>Rapid improvement in glucose control has been associated with a temporary worsening of diabetic retinopathy. The effect of long-term glycemic control with semaglutide on diabetic retinopathy complications has not been studied. Patients with a history of diabetic retinopathy should be monitored for progression of diabetic retinopathy. </a:t>
            </a:r>
          </a:p>
        </p:txBody>
      </p:sp>
      <p:sp>
        <p:nvSpPr>
          <p:cNvPr id="4" name="Rectangle 3">
            <a:extLst>
              <a:ext uri="{FF2B5EF4-FFF2-40B4-BE49-F238E27FC236}">
                <a16:creationId xmlns:a16="http://schemas.microsoft.com/office/drawing/2014/main" id="{7521FBF4-03D3-5A6B-D90E-6D48BB94CC1C}"/>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 </a:t>
            </a:r>
            <a:r>
              <a:rPr lang="en-GB" sz="1100">
                <a:solidFill>
                  <a:srgbClr val="0000EE"/>
                </a:solidFill>
                <a:highlight>
                  <a:srgbClr val="FFFFFF"/>
                </a:highlight>
                <a:latin typeface="Segoe UI"/>
                <a:cs typeface="Segoe UI"/>
                <a:hlinkClick r:id="rId8"/>
              </a:rPr>
              <a:t>https://www.novo-pi.com/wegovy.pdf</a:t>
            </a:r>
            <a:r>
              <a:rPr lang="en-CA" sz="1200">
                <a:solidFill>
                  <a:schemeClr val="tx2"/>
                </a:solidFill>
                <a:hlinkClick r:id="rId8">
                  <a:extLst>
                    <a:ext uri="{A12FA001-AC4F-418D-AE19-62706E023703}">
                      <ahyp:hlinkClr xmlns:ahyp="http://schemas.microsoft.com/office/drawing/2018/hyperlinkcolor" val="tx"/>
                    </a:ext>
                  </a:extLst>
                </a:hlinkClick>
              </a:rPr>
              <a:t> </a:t>
            </a:r>
            <a:r>
              <a:rPr lang="en-GB" sz="1200" noProof="0" err="1">
                <a:solidFill>
                  <a:schemeClr val="bg1"/>
                </a:solidFill>
                <a:latin typeface="Apis For Office"/>
                <a:ea typeface="Apis For Office"/>
                <a:cs typeface="Apis For Office"/>
                <a:sym typeface="Apis For Office" panose="020B0504010101010104" pitchFamily="34" charset="0"/>
              </a:rPr>
              <a:t>i</a:t>
            </a:r>
            <a:r>
              <a:rPr lang="en-GB" sz="1200" noProof="0">
                <a:solidFill>
                  <a:schemeClr val="bg1"/>
                </a:solidFill>
                <a:latin typeface="Apis For Office"/>
                <a:ea typeface="Apis For Office"/>
                <a:cs typeface="Apis For Office"/>
                <a:sym typeface="Apis For Office" panose="020B0504010101010104" pitchFamily="34" charset="0"/>
              </a:rPr>
              <a:t>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6" name="Picture 5">
            <a:extLst>
              <a:ext uri="{FF2B5EF4-FFF2-40B4-BE49-F238E27FC236}">
                <a16:creationId xmlns:a16="http://schemas.microsoft.com/office/drawing/2014/main" id="{201EA4EB-E283-9135-ADBB-382C20F4EAD7}"/>
              </a:ext>
            </a:extLst>
          </p:cNvPr>
          <p:cNvPicPr>
            <a:picLocks noChangeAspect="1"/>
          </p:cNvPicPr>
          <p:nvPr/>
        </p:nvPicPr>
        <p:blipFill>
          <a:blip r:embed="rId9"/>
          <a:stretch>
            <a:fillRect/>
          </a:stretch>
        </p:blipFill>
        <p:spPr>
          <a:xfrm>
            <a:off x="10680676" y="5343037"/>
            <a:ext cx="670464" cy="656086"/>
          </a:xfrm>
          <a:prstGeom prst="rect">
            <a:avLst/>
          </a:prstGeom>
        </p:spPr>
      </p:pic>
    </p:spTree>
    <p:custDataLst>
      <p:tags r:id="rId1"/>
    </p:custDataLst>
    <p:extLst>
      <p:ext uri="{BB962C8B-B14F-4D97-AF65-F5344CB8AC3E}">
        <p14:creationId xmlns:p14="http://schemas.microsoft.com/office/powerpoint/2010/main" val="474195955"/>
      </p:ext>
    </p:extLst>
  </p:cSld>
  <p:clrMapOvr>
    <a:masterClrMapping/>
  </p:clrMapOvr>
  <p:extLst>
    <p:ext uri="{6950BFC3-D8DA-4A85-94F7-54DA5524770B}">
      <p188:commentRel xmlns:p188="http://schemas.microsoft.com/office/powerpoint/2018/8/main" r:id="rId5"/>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1838E49-2A49-C0E1-483A-E9689EA096A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think-cell data - do not delete" hidden="1">
                        <a:extLst>
                          <a:ext uri="{FF2B5EF4-FFF2-40B4-BE49-F238E27FC236}">
                            <a16:creationId xmlns:a16="http://schemas.microsoft.com/office/drawing/2014/main" id="{21838E49-2A49-C0E1-483A-E9689EA096A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852214-061E-4105-BDCD-D565544AA0F8}"/>
              </a:ext>
            </a:extLst>
          </p:cNvPr>
          <p:cNvSpPr>
            <a:spLocks noGrp="1"/>
          </p:cNvSpPr>
          <p:nvPr>
            <p:ph type="title"/>
          </p:nvPr>
        </p:nvSpPr>
        <p:spPr>
          <a:xfrm>
            <a:off x="647700" y="352745"/>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9</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20AEF9A4-22AE-49FC-89D0-34690B4B537C}"/>
              </a:ext>
            </a:extLst>
          </p:cNvPr>
          <p:cNvSpPr>
            <a:spLocks noGrp="1"/>
          </p:cNvSpPr>
          <p:nvPr>
            <p:ph type="body" sz="quarter" idx="13"/>
          </p:nvPr>
        </p:nvSpPr>
        <p:spPr>
          <a:xfrm>
            <a:off x="648000" y="6150625"/>
            <a:ext cx="10896600" cy="324000"/>
          </a:xfrm>
        </p:spPr>
        <p:txBody>
          <a:bodyPr/>
          <a:lstStyle/>
          <a:p>
            <a:pPr marL="0" indent="0">
              <a:buNone/>
            </a:pPr>
            <a:r>
              <a:rPr lang="en-CA"/>
              <a:t>Bpm, beats per minute; </a:t>
            </a:r>
            <a:r>
              <a:rPr lang="en-CA" err="1"/>
              <a:t>Wegovy</a:t>
            </a:r>
            <a:r>
              <a:rPr lang="en-CA" baseline="30000"/>
              <a:t>®</a:t>
            </a:r>
            <a:r>
              <a:rPr lang="en-CA"/>
              <a:t> [package insert]. Novo Nordisk Inc.</a:t>
            </a:r>
          </a:p>
        </p:txBody>
      </p:sp>
      <p:sp>
        <p:nvSpPr>
          <p:cNvPr id="5" name="Rectangle 4">
            <a:extLst>
              <a:ext uri="{FF2B5EF4-FFF2-40B4-BE49-F238E27FC236}">
                <a16:creationId xmlns:a16="http://schemas.microsoft.com/office/drawing/2014/main" id="{7B35ACB8-AC01-4A2B-B450-44F492BF80FD}"/>
              </a:ext>
            </a:extLst>
          </p:cNvPr>
          <p:cNvSpPr/>
          <p:nvPr/>
        </p:nvSpPr>
        <p:spPr>
          <a:xfrm>
            <a:off x="647700" y="1282800"/>
            <a:ext cx="10896600" cy="3168449"/>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b="1" i="0">
                <a:solidFill>
                  <a:schemeClr val="tx2"/>
                </a:solidFill>
                <a:effectLst/>
              </a:rPr>
              <a:t>Heart Rate Increase</a:t>
            </a:r>
          </a:p>
          <a:p>
            <a:pPr>
              <a:spcAft>
                <a:spcPts val="600"/>
              </a:spcAft>
            </a:pPr>
            <a:r>
              <a:rPr lang="en-US" sz="1500" i="0">
                <a:solidFill>
                  <a:srgbClr val="001965"/>
                </a:solidFill>
                <a:effectLst/>
              </a:rPr>
              <a:t>Treatment with WEGOVY was associated with increases in resting heart rate. Mean increases in resting heart rate of 1 to 4 beats per minute (bpm) were observed in WEGOVY injection-treated adult patients compared to placebo in clinical trials for weight reduction. More adult patients treated with WEGOVY injection compared with placebo had maximum changes from baseline at any visit of 10 to 19 bpm (41% versus 34%, respectively) and 20 bpm or more (26% versus 16%, respectively). In a clinical trial in pediatric patients aged 12 years and older with normal baseline heart rate, more patients treated with WEGOVY injection compared to placebo had maximum changes in heart rate of 20 bpm or more (54% versus 39%) [see Adverse Reactions (6.1)]. </a:t>
            </a:r>
            <a:r>
              <a:rPr lang="en-IN" sz="1500">
                <a:solidFill>
                  <a:srgbClr val="001965"/>
                </a:solidFill>
              </a:rPr>
              <a:t>Findings </a:t>
            </a:r>
            <a:r>
              <a:rPr lang="en-GB" sz="1500">
                <a:solidFill>
                  <a:srgbClr val="001965"/>
                </a:solidFill>
              </a:rPr>
              <a:t>were similar in a trial with the WEGOVY tablets.</a:t>
            </a:r>
            <a:endParaRPr lang="en-US" sz="1500">
              <a:solidFill>
                <a:srgbClr val="001965"/>
              </a:solidFill>
            </a:endParaRPr>
          </a:p>
          <a:p>
            <a:pPr>
              <a:spcAft>
                <a:spcPts val="600"/>
              </a:spcAft>
            </a:pPr>
            <a:r>
              <a:rPr lang="en-US" sz="1500" i="0">
                <a:solidFill>
                  <a:srgbClr val="001965"/>
                </a:solidFill>
                <a:effectLst/>
              </a:rPr>
              <a:t>Monitor heart rate at regular intervals consistent with usual clinical practice. Instruct patients to inform their healthcare providers of palpitations or feelings of a racing heartbeat while at rest during WEGOVY treatment. If patients experience a sustained increase in resting heart rate, discontinue WEGOVY.</a:t>
            </a:r>
          </a:p>
        </p:txBody>
      </p:sp>
      <p:sp>
        <p:nvSpPr>
          <p:cNvPr id="4" name="Rectangle 3">
            <a:extLst>
              <a:ext uri="{FF2B5EF4-FFF2-40B4-BE49-F238E27FC236}">
                <a16:creationId xmlns:a16="http://schemas.microsoft.com/office/drawing/2014/main" id="{2F62E916-D974-BC25-D583-8A61DA243555}"/>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a:latin typeface="Apis For Office"/>
                <a:ea typeface="Apis For Office"/>
                <a:cs typeface="Apis For Office"/>
                <a:sym typeface="Apis For Office" panose="020B0504010101010104" pitchFamily="34" charset="0"/>
              </a:rPr>
              <a:t>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6" name="Picture 5">
            <a:extLst>
              <a:ext uri="{FF2B5EF4-FFF2-40B4-BE49-F238E27FC236}">
                <a16:creationId xmlns:a16="http://schemas.microsoft.com/office/drawing/2014/main" id="{738839B2-4FF6-63E6-D402-9ACF556BEE8F}"/>
              </a:ext>
            </a:extLst>
          </p:cNvPr>
          <p:cNvPicPr>
            <a:picLocks noChangeAspect="1"/>
          </p:cNvPicPr>
          <p:nvPr/>
        </p:nvPicPr>
        <p:blipFill>
          <a:blip r:embed="rId9"/>
          <a:stretch>
            <a:fillRect/>
          </a:stretch>
        </p:blipFill>
        <p:spPr>
          <a:xfrm>
            <a:off x="10766940" y="5343037"/>
            <a:ext cx="627332" cy="670463"/>
          </a:xfrm>
          <a:prstGeom prst="rect">
            <a:avLst/>
          </a:prstGeom>
        </p:spPr>
      </p:pic>
    </p:spTree>
    <p:custDataLst>
      <p:tags r:id="rId1"/>
    </p:custDataLst>
    <p:extLst>
      <p:ext uri="{BB962C8B-B14F-4D97-AF65-F5344CB8AC3E}">
        <p14:creationId xmlns:p14="http://schemas.microsoft.com/office/powerpoint/2010/main" val="247408680"/>
      </p:ext>
    </p:extLst>
  </p:cSld>
  <p:clrMapOvr>
    <a:masterClrMapping/>
  </p:clrMapOvr>
  <p:extLst>
    <p:ext uri="{6950BFC3-D8DA-4A85-94F7-54DA5524770B}">
      <p188:commentRel xmlns:p188="http://schemas.microsoft.com/office/powerpoint/2018/8/main" r:id="rId5"/>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01F912-E291-3EC8-18C2-5C54AAF4573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4A01F912-E291-3EC8-18C2-5C54AAF45736}"/>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8000" y="514650"/>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10</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8" y="6150625"/>
            <a:ext cx="9994601" cy="324000"/>
          </a:xfrm>
        </p:spPr>
        <p:txBody>
          <a:bodyPr/>
          <a:lstStyle/>
          <a:p>
            <a:pPr marL="0" indent="0">
              <a:buNone/>
            </a:pPr>
            <a:r>
              <a:rPr lang="en-CA"/>
              <a:t>Abbreviations: BMI, body mass index; GLP-1, glucagon-like peptide-1.</a:t>
            </a:r>
            <a:br>
              <a:rPr lang="en-CA"/>
            </a:br>
            <a:r>
              <a:rPr lang="en-CA"/>
              <a:t>Wegovy</a:t>
            </a:r>
            <a:r>
              <a:rPr lang="en-CA" baseline="30000"/>
              <a:t>®</a:t>
            </a:r>
            <a:r>
              <a:rPr lang="en-CA"/>
              <a:t> [package insert]. Novo Nordisk Inc.</a:t>
            </a:r>
          </a:p>
        </p:txBody>
      </p:sp>
      <p:sp>
        <p:nvSpPr>
          <p:cNvPr id="4" name="Rectangle 3">
            <a:extLst>
              <a:ext uri="{FF2B5EF4-FFF2-40B4-BE49-F238E27FC236}">
                <a16:creationId xmlns:a16="http://schemas.microsoft.com/office/drawing/2014/main" id="{92E7EDDE-1AAD-9505-64B4-C049EBD7263D}"/>
              </a:ext>
            </a:extLst>
          </p:cNvPr>
          <p:cNvSpPr/>
          <p:nvPr/>
        </p:nvSpPr>
        <p:spPr>
          <a:xfrm>
            <a:off x="647700" y="1353193"/>
            <a:ext cx="10896600" cy="3660042"/>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i="0">
                <a:solidFill>
                  <a:schemeClr val="tx2"/>
                </a:solidFill>
                <a:effectLst/>
              </a:rPr>
              <a:t>Pulmonary Aspiration During General Anesthesia or Deep Sedation</a:t>
            </a:r>
          </a:p>
          <a:p>
            <a:pPr>
              <a:spcAft>
                <a:spcPts val="600"/>
              </a:spcAft>
            </a:pPr>
            <a:r>
              <a:rPr lang="en-US" sz="1600" i="0">
                <a:solidFill>
                  <a:schemeClr val="tx2"/>
                </a:solidFill>
                <a:effectLst/>
              </a:rPr>
              <a:t>WEGOVY delays gastric emptying [see Clinical Pharmacology (12.2)]. There have been rare postmarketing reports of pulmonary aspiration in patients receiving GLP-1 receptor agonists undergoing elective surgeries or procedures requiring general anesthesia or deep sedation who had residual gastric contents despite reported adherence to preoperative fasting recommendations.</a:t>
            </a:r>
          </a:p>
          <a:p>
            <a:pPr>
              <a:spcAft>
                <a:spcPts val="600"/>
              </a:spcAft>
            </a:pPr>
            <a:r>
              <a:rPr lang="en-US" sz="1600" i="0">
                <a:solidFill>
                  <a:schemeClr val="tx2"/>
                </a:solidFill>
                <a:effectLst/>
              </a:rPr>
              <a:t>Available data are insufficient to inform recommendations to mitigate the risk of pulmonary aspiration during general anesthesia or deep sedation in patients taking WEGOVY, including whether modifying preoperative fasting recommendations or temporarily discontinuing WEGOVY could reduce the incidence of retained gastric contents. Instruct patients to inform healthcare providers prior to any planned surgeries or procedures if they are taking WEGOVY.</a:t>
            </a:r>
          </a:p>
        </p:txBody>
      </p:sp>
      <p:sp>
        <p:nvSpPr>
          <p:cNvPr id="5" name="Rectangle 4">
            <a:extLst>
              <a:ext uri="{FF2B5EF4-FFF2-40B4-BE49-F238E27FC236}">
                <a16:creationId xmlns:a16="http://schemas.microsoft.com/office/drawing/2014/main" id="{830C495C-3DB4-FB89-A36C-EA2EBE4D3BF8}"/>
              </a:ext>
            </a:extLst>
          </p:cNvPr>
          <p:cNvSpPr/>
          <p:nvPr/>
        </p:nvSpPr>
        <p:spPr>
          <a:xfrm>
            <a:off x="647998" y="5320774"/>
            <a:ext cx="10896000" cy="657481"/>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a:latin typeface="Apis For Office"/>
                <a:ea typeface="Apis For Office"/>
                <a:cs typeface="Apis For Office"/>
                <a:sym typeface="Apis For Office" panose="020B0504010101010104" pitchFamily="34" charset="0"/>
              </a:rPr>
              <a:t>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7" name="Picture 6">
            <a:extLst>
              <a:ext uri="{FF2B5EF4-FFF2-40B4-BE49-F238E27FC236}">
                <a16:creationId xmlns:a16="http://schemas.microsoft.com/office/drawing/2014/main" id="{F63226CD-B8BB-0478-238C-3FD7A6E4ACB2}"/>
              </a:ext>
            </a:extLst>
          </p:cNvPr>
          <p:cNvPicPr>
            <a:picLocks noChangeAspect="1"/>
          </p:cNvPicPr>
          <p:nvPr/>
        </p:nvPicPr>
        <p:blipFill>
          <a:blip r:embed="rId9"/>
          <a:stretch>
            <a:fillRect/>
          </a:stretch>
        </p:blipFill>
        <p:spPr>
          <a:xfrm>
            <a:off x="10680676" y="5343037"/>
            <a:ext cx="699218" cy="670463"/>
          </a:xfrm>
          <a:prstGeom prst="rect">
            <a:avLst/>
          </a:prstGeom>
        </p:spPr>
      </p:pic>
    </p:spTree>
    <p:custDataLst>
      <p:tags r:id="rId1"/>
    </p:custDataLst>
    <p:extLst>
      <p:ext uri="{BB962C8B-B14F-4D97-AF65-F5344CB8AC3E}">
        <p14:creationId xmlns:p14="http://schemas.microsoft.com/office/powerpoint/2010/main" val="3083776257"/>
      </p:ext>
    </p:extLst>
  </p:cSld>
  <p:clrMapOvr>
    <a:masterClrMapping/>
  </p:clrMapOvr>
  <p:extLst>
    <p:ext uri="{6950BFC3-D8DA-4A85-94F7-54DA5524770B}">
      <p188:commentRel xmlns:p188="http://schemas.microsoft.com/office/powerpoint/2018/8/main" r:id="rId5"/>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F0585-63E2-EAD3-0352-70FA1E1DA957}"/>
              </a:ext>
            </a:extLst>
          </p:cNvPr>
          <p:cNvSpPr>
            <a:spLocks noGrp="1"/>
          </p:cNvSpPr>
          <p:nvPr>
            <p:ph type="title"/>
          </p:nvPr>
        </p:nvSpPr>
        <p:spPr>
          <a:xfrm>
            <a:off x="648000" y="313463"/>
            <a:ext cx="10896000" cy="1296000"/>
          </a:xfrm>
        </p:spPr>
        <p:txBody>
          <a:bodyPr/>
          <a:lstStyle/>
          <a:p>
            <a:r>
              <a:rPr lang="en-US" sz="2800">
                <a:ea typeface="Apis For Office"/>
                <a:cs typeface="Apis For Office"/>
              </a:rPr>
              <a:t>Novo Nordisk provides the </a:t>
            </a:r>
            <a:r>
              <a:rPr lang="en-CA" sz="2800">
                <a:ea typeface="Apis For Office"/>
                <a:cs typeface="Apis For Office"/>
              </a:rPr>
              <a:t>following disclosures as to the authors related to </a:t>
            </a:r>
            <a:r>
              <a:rPr lang="en-US" sz="2800">
                <a:ea typeface="Apis For Office"/>
                <a:cs typeface="Apis For Office"/>
              </a:rPr>
              <a:t>the period of writing, editing, and/or contributing to the source publication</a:t>
            </a:r>
            <a:endParaRPr lang="en-US"/>
          </a:p>
        </p:txBody>
      </p:sp>
      <p:sp>
        <p:nvSpPr>
          <p:cNvPr id="3" name="Content Placeholder 2">
            <a:extLst>
              <a:ext uri="{FF2B5EF4-FFF2-40B4-BE49-F238E27FC236}">
                <a16:creationId xmlns:a16="http://schemas.microsoft.com/office/drawing/2014/main" id="{ECBF6201-392C-FF78-740A-7FAD970FE3DE}"/>
              </a:ext>
            </a:extLst>
          </p:cNvPr>
          <p:cNvSpPr>
            <a:spLocks noGrp="1"/>
          </p:cNvSpPr>
          <p:nvPr>
            <p:ph idx="1"/>
          </p:nvPr>
        </p:nvSpPr>
        <p:spPr>
          <a:xfrm>
            <a:off x="648000" y="1711683"/>
            <a:ext cx="10896000" cy="4269600"/>
          </a:xfrm>
        </p:spPr>
        <p:txBody>
          <a:bodyPr vert="horz" lIns="0" tIns="0" rIns="0" bIns="0" rtlCol="0" anchor="t">
            <a:noAutofit/>
          </a:bodyPr>
          <a:lstStyle/>
          <a:p>
            <a:pPr marL="269875" indent="-269875"/>
            <a:r>
              <a:rPr lang="en-GB" sz="1600" b="1">
                <a:ea typeface="Apis For Office"/>
                <a:cs typeface="Apis For Office"/>
              </a:rPr>
              <a:t>Javed Butler- </a:t>
            </a:r>
            <a:r>
              <a:rPr lang="en-GB" sz="1600">
                <a:ea typeface="Apis For Office"/>
                <a:cs typeface="Apis For Office"/>
              </a:rPr>
              <a:t>Consultant to Novo Nordisk.</a:t>
            </a:r>
          </a:p>
          <a:p>
            <a:pPr marL="269875" indent="-269875"/>
            <a:r>
              <a:rPr lang="en-GB" sz="1600" b="1">
                <a:ea typeface="Apis For Office"/>
                <a:cs typeface="Apis For Office"/>
              </a:rPr>
              <a:t>Sanjiv J. Shah- </a:t>
            </a:r>
            <a:r>
              <a:rPr lang="en-GB" sz="1600">
                <a:ea typeface="Apis For Office"/>
                <a:cs typeface="Apis For Office"/>
              </a:rPr>
              <a:t>Received consulting fees from Novo Nordisk.</a:t>
            </a:r>
          </a:p>
          <a:p>
            <a:pPr marL="269875" indent="-269875"/>
            <a:r>
              <a:rPr lang="en-GB" sz="1600" b="1">
                <a:ea typeface="Apis For Office"/>
                <a:cs typeface="Apis For Office"/>
              </a:rPr>
              <a:t>Mark C. Petrie- </a:t>
            </a:r>
            <a:r>
              <a:rPr lang="en-GB" sz="1600">
                <a:ea typeface="Apis For Office"/>
                <a:cs typeface="Apis For Office"/>
              </a:rPr>
              <a:t>Consultant to Novo Nordisk. Received research funding from Novo Nordisk. </a:t>
            </a:r>
          </a:p>
          <a:p>
            <a:pPr marL="269875" indent="-269875"/>
            <a:r>
              <a:rPr lang="en-GB" sz="1600" b="1">
                <a:ea typeface="Apis For Office"/>
                <a:cs typeface="Apis For Office"/>
              </a:rPr>
              <a:t>Barry A. Borlaug- </a:t>
            </a:r>
            <a:r>
              <a:rPr lang="en-GB" sz="1600">
                <a:ea typeface="Apis For Office"/>
                <a:cs typeface="Apis For Office"/>
              </a:rPr>
              <a:t>Consultant to Novo Nordisk. Received research funding from Novo Nordisk.</a:t>
            </a:r>
          </a:p>
          <a:p>
            <a:pPr marL="269875" indent="-269875"/>
            <a:r>
              <a:rPr lang="en-GB" sz="1600" b="1">
                <a:ea typeface="Apis For Office"/>
                <a:cs typeface="Apis For Office"/>
              </a:rPr>
              <a:t>Melanie J. Davies- </a:t>
            </a:r>
            <a:r>
              <a:rPr lang="en-GB" sz="1600">
                <a:ea typeface="Apis For Office"/>
                <a:cs typeface="Apis For Office"/>
              </a:rPr>
              <a:t>Consultant to Novo Nordisk. Advisory board and speaker of Novo Nordisk. Received grants from Novo Nordisk. </a:t>
            </a:r>
          </a:p>
          <a:p>
            <a:pPr marL="269875" indent="-269875"/>
            <a:r>
              <a:rPr lang="en-GB" sz="1600" b="1">
                <a:ea typeface="Apis For Office"/>
                <a:cs typeface="Apis For Office"/>
              </a:rPr>
              <a:t>Darlene W. Kitzman- </a:t>
            </a:r>
            <a:r>
              <a:rPr lang="en-GB" sz="1600">
                <a:ea typeface="Apis For Office"/>
                <a:cs typeface="Apis For Office"/>
              </a:rPr>
              <a:t>Consultant honoraria from Novo Nordisk. Received grant funding from Novo Nordisk.</a:t>
            </a:r>
          </a:p>
          <a:p>
            <a:pPr marL="269875" indent="-269875"/>
            <a:r>
              <a:rPr lang="en-GB" sz="1600" b="1">
                <a:ea typeface="Apis For Office"/>
                <a:cs typeface="Apis For Office"/>
              </a:rPr>
              <a:t>Subodh Verma- </a:t>
            </a:r>
            <a:r>
              <a:rPr lang="en-GB" sz="1600">
                <a:ea typeface="Apis For Office"/>
                <a:cs typeface="Apis For Office"/>
              </a:rPr>
              <a:t>Received consulting and speaker fees from Nove Nordisk.</a:t>
            </a:r>
          </a:p>
          <a:p>
            <a:pPr marL="269875" indent="-269875"/>
            <a:r>
              <a:rPr lang="en-GB" sz="1600" b="1">
                <a:ea typeface="Apis For Office"/>
                <a:cs typeface="Apis For Office"/>
              </a:rPr>
              <a:t>Walter Abhayaratana- </a:t>
            </a:r>
            <a:r>
              <a:rPr lang="en-GB" sz="1600">
                <a:ea typeface="Apis For Office"/>
                <a:cs typeface="Apis For Office"/>
              </a:rPr>
              <a:t>Received honoraria and consulting fees from Novo Nordisk.</a:t>
            </a:r>
          </a:p>
          <a:p>
            <a:pPr marL="269875" indent="-269875"/>
            <a:r>
              <a:rPr lang="en-GB" sz="1600" b="1">
                <a:ea typeface="Apis For Office"/>
                <a:cs typeface="Apis For Office"/>
              </a:rPr>
              <a:t>Fozia Z Ahmed- </a:t>
            </a:r>
            <a:r>
              <a:rPr lang="en-GB" sz="1600">
                <a:ea typeface="Apis For Office"/>
                <a:cs typeface="Apis For Office"/>
              </a:rPr>
              <a:t>Received honoraria and consulting fees from Novo Nordisk.</a:t>
            </a:r>
          </a:p>
          <a:p>
            <a:pPr marL="269875" indent="-269875"/>
            <a:r>
              <a:rPr lang="en-GB" sz="1600" b="1">
                <a:ea typeface="Apis For Office"/>
                <a:cs typeface="Apis For Office"/>
              </a:rPr>
              <a:t>Vijay Chopra- </a:t>
            </a:r>
            <a:r>
              <a:rPr lang="en-GB" sz="1600">
                <a:ea typeface="Apis For Office"/>
                <a:cs typeface="Apis For Office"/>
              </a:rPr>
              <a:t>Received speaker fees from Novo Nordisk.</a:t>
            </a:r>
          </a:p>
          <a:p>
            <a:pPr marL="269875" indent="-269875"/>
            <a:r>
              <a:rPr lang="en-GB" sz="1600" b="1">
                <a:ea typeface="+mn-lt"/>
                <a:cs typeface="+mn-lt"/>
              </a:rPr>
              <a:t>Justin A </a:t>
            </a:r>
            <a:r>
              <a:rPr lang="en-GB" sz="1600" b="1" err="1">
                <a:ea typeface="+mn-lt"/>
                <a:cs typeface="+mn-lt"/>
              </a:rPr>
              <a:t>Ezekowitz</a:t>
            </a:r>
            <a:r>
              <a:rPr lang="en-GB" sz="1600">
                <a:ea typeface="+mn-lt"/>
                <a:cs typeface="+mn-lt"/>
              </a:rPr>
              <a:t>- Received research support and consulting fees from Novo Nordisk.</a:t>
            </a:r>
            <a:endParaRPr lang="en-GB" sz="1600">
              <a:ea typeface="Apis For Office"/>
              <a:cs typeface="Apis For Office"/>
            </a:endParaRPr>
          </a:p>
        </p:txBody>
      </p:sp>
      <p:sp>
        <p:nvSpPr>
          <p:cNvPr id="4" name="Text Placeholder 3">
            <a:extLst>
              <a:ext uri="{FF2B5EF4-FFF2-40B4-BE49-F238E27FC236}">
                <a16:creationId xmlns:a16="http://schemas.microsoft.com/office/drawing/2014/main" id="{BE46B699-4F5A-9815-FC4D-71945D9CC1F4}"/>
              </a:ext>
            </a:extLst>
          </p:cNvPr>
          <p:cNvSpPr>
            <a:spLocks noGrp="1"/>
          </p:cNvSpPr>
          <p:nvPr>
            <p:ph type="body" sz="quarter" idx="13"/>
          </p:nvPr>
        </p:nvSpPr>
        <p:spPr/>
        <p:txBody>
          <a:bodyPr/>
          <a:lstStyle/>
          <a:p>
            <a:r>
              <a:rPr lang="en-GB" i="0">
                <a:solidFill>
                  <a:schemeClr val="bg2"/>
                </a:solidFill>
                <a:highlight>
                  <a:srgbClr val="FFFFFF"/>
                </a:highlight>
                <a:ea typeface="+mn-lt"/>
                <a:cs typeface="+mn-lt"/>
              </a:rPr>
              <a:t>Butler, Javed et al. “Semaglutide versus placebo in people with obesity-related heart failure with preserved ejection fraction: a pooled analysis of the STEP-HFpEF and STEP-HFpEF DM randomised trials.” </a:t>
            </a:r>
            <a:r>
              <a:rPr lang="en-GB">
                <a:solidFill>
                  <a:schemeClr val="bg2"/>
                </a:solidFill>
                <a:highlight>
                  <a:srgbClr val="FFFFFF"/>
                </a:highlight>
                <a:ea typeface="+mn-lt"/>
                <a:cs typeface="+mn-lt"/>
              </a:rPr>
              <a:t>Lancet (London, England)</a:t>
            </a:r>
            <a:r>
              <a:rPr lang="en-GB" i="0">
                <a:solidFill>
                  <a:schemeClr val="bg2"/>
                </a:solidFill>
                <a:highlight>
                  <a:srgbClr val="FFFFFF"/>
                </a:highlight>
                <a:ea typeface="+mn-lt"/>
                <a:cs typeface="+mn-lt"/>
              </a:rPr>
              <a:t> vol. 403,10437 (2024): 1635-1648. doi:10.1016/S0140-6736(24)00469-0</a:t>
            </a:r>
            <a:endParaRPr lang="en-US">
              <a:solidFill>
                <a:schemeClr val="bg2"/>
              </a:solidFill>
              <a:ea typeface="Apis For Office"/>
              <a:cs typeface="Apis For Office"/>
            </a:endParaRPr>
          </a:p>
        </p:txBody>
      </p:sp>
    </p:spTree>
    <p:extLst>
      <p:ext uri="{BB962C8B-B14F-4D97-AF65-F5344CB8AC3E}">
        <p14:creationId xmlns:p14="http://schemas.microsoft.com/office/powerpoint/2010/main" val="696904427"/>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3D9859-CD1B-017B-C748-8C0E161D3106}"/>
              </a:ext>
            </a:extLst>
          </p:cNvPr>
          <p:cNvSpPr>
            <a:spLocks noGrp="1"/>
          </p:cNvSpPr>
          <p:nvPr>
            <p:ph idx="1"/>
          </p:nvPr>
        </p:nvSpPr>
        <p:spPr>
          <a:xfrm>
            <a:off x="647998" y="1609463"/>
            <a:ext cx="11184073" cy="4837057"/>
          </a:xfrm>
        </p:spPr>
        <p:txBody>
          <a:bodyPr vert="horz" lIns="0" tIns="0" rIns="0" bIns="0" rtlCol="0" anchor="t">
            <a:noAutofit/>
          </a:bodyPr>
          <a:lstStyle/>
          <a:p>
            <a:pPr marL="269875" indent="-269875"/>
            <a:r>
              <a:rPr lang="en-GB" sz="1600" b="1">
                <a:ea typeface="+mn-lt"/>
                <a:cs typeface="+mn-lt"/>
              </a:rPr>
              <a:t>Hiroshi Ito</a:t>
            </a:r>
            <a:r>
              <a:rPr lang="en-GB" sz="1600">
                <a:ea typeface="+mn-lt"/>
                <a:cs typeface="+mn-lt"/>
              </a:rPr>
              <a:t>- Received honoraria and consulting fees from Novo Nordisk.</a:t>
            </a:r>
          </a:p>
          <a:p>
            <a:pPr marL="269875" indent="-269875"/>
            <a:r>
              <a:rPr lang="en-GB" sz="1600" b="1">
                <a:ea typeface="+mn-lt"/>
                <a:cs typeface="+mn-lt"/>
              </a:rPr>
              <a:t>Małgorzata Lelonek</a:t>
            </a:r>
            <a:r>
              <a:rPr lang="en-GB" sz="1600">
                <a:ea typeface="+mn-lt"/>
                <a:cs typeface="+mn-lt"/>
              </a:rPr>
              <a:t>- Received honoraria and consulting fees from Novo Nordisk.</a:t>
            </a:r>
          </a:p>
          <a:p>
            <a:pPr marL="269875" indent="-269875"/>
            <a:r>
              <a:rPr lang="en-GB" sz="1600" b="1">
                <a:ea typeface="+mn-lt"/>
                <a:cs typeface="+mn-lt"/>
              </a:rPr>
              <a:t>Vojtěch </a:t>
            </a:r>
            <a:r>
              <a:rPr lang="en-GB" sz="1600" b="1" err="1">
                <a:ea typeface="+mn-lt"/>
                <a:cs typeface="+mn-lt"/>
              </a:rPr>
              <a:t>Melenovský</a:t>
            </a:r>
            <a:r>
              <a:rPr lang="en-GB" sz="1600">
                <a:ea typeface="+mn-lt"/>
                <a:cs typeface="+mn-lt"/>
              </a:rPr>
              <a:t>- Received consulting fees from Novo Nordisk.</a:t>
            </a:r>
            <a:endParaRPr lang="en-GB" sz="1600">
              <a:ea typeface="Apis For Office"/>
              <a:cs typeface="Apis For Office"/>
            </a:endParaRPr>
          </a:p>
          <a:p>
            <a:pPr marL="269875" indent="-269875"/>
            <a:r>
              <a:rPr lang="en-GB" sz="1600" b="1">
                <a:ea typeface="+mn-lt"/>
                <a:cs typeface="+mn-lt"/>
              </a:rPr>
              <a:t>Bela </a:t>
            </a:r>
            <a:r>
              <a:rPr lang="en-GB" sz="1600" b="1" err="1">
                <a:ea typeface="+mn-lt"/>
                <a:cs typeface="+mn-lt"/>
              </a:rPr>
              <a:t>Merkely</a:t>
            </a:r>
            <a:r>
              <a:rPr lang="en-GB" sz="1600">
                <a:ea typeface="+mn-lt"/>
                <a:cs typeface="+mn-lt"/>
              </a:rPr>
              <a:t>- Received institutional payments that included Novo Nordisk collaborations.</a:t>
            </a:r>
          </a:p>
          <a:p>
            <a:pPr marL="269875" indent="-269875"/>
            <a:r>
              <a:rPr lang="en-GB" sz="1600" b="1">
                <a:ea typeface="+mn-lt"/>
                <a:cs typeface="+mn-lt"/>
              </a:rPr>
              <a:t>Julio Núñez</a:t>
            </a:r>
            <a:r>
              <a:rPr lang="en-GB" sz="1600">
                <a:ea typeface="+mn-lt"/>
                <a:cs typeface="+mn-lt"/>
              </a:rPr>
              <a:t>- Received honoraria and consulting fees from Novo Nordisk.</a:t>
            </a:r>
          </a:p>
          <a:p>
            <a:pPr marL="269875" indent="-269875"/>
            <a:r>
              <a:rPr lang="en-GB" sz="1600" b="1">
                <a:ea typeface="+mn-lt"/>
                <a:cs typeface="+mn-lt"/>
              </a:rPr>
              <a:t>Eduardo Perna</a:t>
            </a:r>
            <a:r>
              <a:rPr lang="en-GB" sz="1600">
                <a:ea typeface="+mn-lt"/>
                <a:cs typeface="+mn-lt"/>
              </a:rPr>
              <a:t>- Honoraria from Novo Nordisk.</a:t>
            </a:r>
            <a:endParaRPr lang="en-GB" sz="1600">
              <a:ea typeface="Apis For Office"/>
              <a:cs typeface="Apis For Office"/>
            </a:endParaRPr>
          </a:p>
          <a:p>
            <a:pPr marL="269875" indent="-269875"/>
            <a:r>
              <a:rPr lang="en-GB" sz="1600" b="1">
                <a:ea typeface="+mn-lt"/>
                <a:cs typeface="+mn-lt"/>
              </a:rPr>
              <a:t>Morten Schou</a:t>
            </a:r>
            <a:r>
              <a:rPr lang="en-GB" sz="1600">
                <a:ea typeface="+mn-lt"/>
                <a:cs typeface="+mn-lt"/>
              </a:rPr>
              <a:t>- Received speaker fees from Novo Nordisk.</a:t>
            </a:r>
            <a:endParaRPr lang="en-GB">
              <a:ea typeface="Apis For Office"/>
              <a:cs typeface="Apis For Office"/>
            </a:endParaRPr>
          </a:p>
          <a:p>
            <a:pPr marL="269875" indent="-269875"/>
            <a:r>
              <a:rPr lang="en-GB" sz="1600" b="1">
                <a:ea typeface="+mn-lt"/>
                <a:cs typeface="+mn-lt"/>
              </a:rPr>
              <a:t>Michele Senni</a:t>
            </a:r>
            <a:r>
              <a:rPr lang="en-GB" sz="1600">
                <a:ea typeface="+mn-lt"/>
                <a:cs typeface="+mn-lt"/>
              </a:rPr>
              <a:t>- Received honoraria and consulting fees from Novo Nordisk.</a:t>
            </a:r>
            <a:endParaRPr lang="en-GB" sz="1600">
              <a:ea typeface="Apis For Office"/>
              <a:cs typeface="Apis For Office"/>
            </a:endParaRPr>
          </a:p>
          <a:p>
            <a:pPr marL="269875" indent="-269875"/>
            <a:r>
              <a:rPr lang="en-GB" sz="1600" b="1">
                <a:ea typeface="+mn-lt"/>
                <a:cs typeface="+mn-lt"/>
              </a:rPr>
              <a:t>Kavita Sharma</a:t>
            </a:r>
            <a:r>
              <a:rPr lang="en-GB" sz="1600">
                <a:ea typeface="+mn-lt"/>
                <a:cs typeface="+mn-lt"/>
              </a:rPr>
              <a:t>- Advisory and consulting fees from Novo Nordisk.</a:t>
            </a:r>
            <a:endParaRPr lang="en-GB" sz="1600">
              <a:ea typeface="Apis For Office"/>
              <a:cs typeface="Apis For Office"/>
            </a:endParaRPr>
          </a:p>
          <a:p>
            <a:pPr marL="269875" indent="-269875"/>
            <a:r>
              <a:rPr lang="en-GB" sz="1600" b="1">
                <a:ea typeface="+mn-lt"/>
                <a:cs typeface="+mn-lt"/>
              </a:rPr>
              <a:t>Peter van der Meer</a:t>
            </a:r>
            <a:r>
              <a:rPr lang="en-GB" sz="1600">
                <a:ea typeface="+mn-lt"/>
                <a:cs typeface="+mn-lt"/>
              </a:rPr>
              <a:t>- </a:t>
            </a:r>
            <a:r>
              <a:rPr lang="en-GB" sz="1600">
                <a:latin typeface="Apis For Office"/>
                <a:ea typeface="+mn-lt"/>
                <a:cs typeface="Apis For Office"/>
              </a:rPr>
              <a:t>Institutional payments for consultancy/grants including Novo Nordisk</a:t>
            </a:r>
          </a:p>
          <a:p>
            <a:pPr marL="269875" indent="-269875"/>
            <a:r>
              <a:rPr lang="en-GB" sz="1600" b="1">
                <a:ea typeface="+mn-lt"/>
                <a:cs typeface="+mn-lt"/>
              </a:rPr>
              <a:t>Dirk Von Lewinski</a:t>
            </a:r>
            <a:r>
              <a:rPr lang="en-GB" sz="1600">
                <a:ea typeface="+mn-lt"/>
                <a:cs typeface="+mn-lt"/>
              </a:rPr>
              <a:t>- Received honoraria and consulting fees from Novo Nordisk.</a:t>
            </a:r>
            <a:endParaRPr lang="en-GB" sz="1600">
              <a:ea typeface="Apis For Office"/>
              <a:cs typeface="Apis For Office"/>
            </a:endParaRPr>
          </a:p>
          <a:p>
            <a:pPr marL="269875" indent="-269875"/>
            <a:r>
              <a:rPr lang="en-GB" sz="1600" b="1">
                <a:ea typeface="+mn-lt"/>
                <a:cs typeface="+mn-lt"/>
              </a:rPr>
              <a:t>Dennis Wolf</a:t>
            </a:r>
            <a:r>
              <a:rPr lang="en-GB" sz="1600">
                <a:ea typeface="+mn-lt"/>
                <a:cs typeface="+mn-lt"/>
              </a:rPr>
              <a:t>- Received consultancy fees from Novo Nordisk.</a:t>
            </a:r>
            <a:endParaRPr lang="en-GB" sz="1600">
              <a:ea typeface="Apis For Office"/>
              <a:cs typeface="Apis For Office"/>
            </a:endParaRPr>
          </a:p>
          <a:p>
            <a:pPr marL="269875" indent="-269875"/>
            <a:r>
              <a:rPr lang="en-GB" sz="1600" b="1">
                <a:ea typeface="+mn-lt"/>
                <a:cs typeface="+mn-lt"/>
              </a:rPr>
              <a:t>Mikhail N </a:t>
            </a:r>
            <a:r>
              <a:rPr lang="en-GB" sz="1600" b="1" err="1">
                <a:ea typeface="+mn-lt"/>
                <a:cs typeface="+mn-lt"/>
              </a:rPr>
              <a:t>Kosiborod</a:t>
            </a:r>
            <a:r>
              <a:rPr lang="en-GB" sz="1600">
                <a:ea typeface="+mn-lt"/>
                <a:cs typeface="+mn-lt"/>
              </a:rPr>
              <a:t>- Received consultancy/advisory fees, grants, and honoraria from Novo Nordisk.</a:t>
            </a:r>
            <a:endParaRPr lang="en-GB" sz="1600">
              <a:ea typeface="Apis For Office"/>
              <a:cs typeface="Apis For Office"/>
            </a:endParaRPr>
          </a:p>
          <a:p>
            <a:pPr marL="269875" indent="-269875"/>
            <a:endParaRPr lang="en-GB" sz="1600">
              <a:ea typeface="Apis For Office"/>
              <a:cs typeface="Apis For Office"/>
            </a:endParaRPr>
          </a:p>
          <a:p>
            <a:pPr marL="0" indent="0">
              <a:buNone/>
            </a:pPr>
            <a:endParaRPr lang="en-GB">
              <a:ea typeface="Apis For Office"/>
              <a:cs typeface="Apis For Office"/>
            </a:endParaRPr>
          </a:p>
        </p:txBody>
      </p:sp>
      <p:sp>
        <p:nvSpPr>
          <p:cNvPr id="8" name="Title 1">
            <a:extLst>
              <a:ext uri="{FF2B5EF4-FFF2-40B4-BE49-F238E27FC236}">
                <a16:creationId xmlns:a16="http://schemas.microsoft.com/office/drawing/2014/main" id="{3DC6AE7B-A2E9-C74C-17C3-8ED2359DFB7E}"/>
              </a:ext>
            </a:extLst>
          </p:cNvPr>
          <p:cNvSpPr txBox="1">
            <a:spLocks/>
          </p:cNvSpPr>
          <p:nvPr/>
        </p:nvSpPr>
        <p:spPr>
          <a:xfrm>
            <a:off x="648000" y="313463"/>
            <a:ext cx="10896000" cy="12960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US" sz="2800">
                <a:ea typeface="Apis For Office"/>
                <a:cs typeface="Apis For Office"/>
              </a:rPr>
              <a:t>Novo Nordisk provides the </a:t>
            </a:r>
            <a:r>
              <a:rPr lang="en-CA" sz="2800">
                <a:ea typeface="Apis For Office"/>
                <a:cs typeface="Apis For Office"/>
              </a:rPr>
              <a:t>following disclosures as to the authors related to </a:t>
            </a:r>
            <a:r>
              <a:rPr lang="en-US" sz="2800">
                <a:ea typeface="Apis For Office"/>
                <a:cs typeface="Apis For Office"/>
              </a:rPr>
              <a:t>the period of writing, editing, and/or contributing to the source publication</a:t>
            </a:r>
            <a:endParaRPr lang="en-US"/>
          </a:p>
        </p:txBody>
      </p:sp>
      <p:sp>
        <p:nvSpPr>
          <p:cNvPr id="2" name="Text Placeholder 3">
            <a:extLst>
              <a:ext uri="{FF2B5EF4-FFF2-40B4-BE49-F238E27FC236}">
                <a16:creationId xmlns:a16="http://schemas.microsoft.com/office/drawing/2014/main" id="{3CB19A64-C886-C712-CAD8-ACE1BABE6D51}"/>
              </a:ext>
            </a:extLst>
          </p:cNvPr>
          <p:cNvSpPr>
            <a:spLocks noGrp="1"/>
          </p:cNvSpPr>
          <p:nvPr>
            <p:ph type="body" sz="quarter" idx="13"/>
          </p:nvPr>
        </p:nvSpPr>
        <p:spPr>
          <a:xfrm>
            <a:off x="647998" y="6163820"/>
            <a:ext cx="10895999" cy="324000"/>
          </a:xfrm>
        </p:spPr>
        <p:txBody>
          <a:bodyPr/>
          <a:lstStyle/>
          <a:p>
            <a:r>
              <a:rPr lang="en-GB" i="0">
                <a:solidFill>
                  <a:schemeClr val="bg2"/>
                </a:solidFill>
                <a:highlight>
                  <a:srgbClr val="FFFFFF"/>
                </a:highlight>
                <a:ea typeface="+mn-lt"/>
                <a:cs typeface="+mn-lt"/>
              </a:rPr>
              <a:t>Butler, Javed et al. “Semaglutide versus placebo in people with obesity-related heart failure with preserved ejection fraction: a pooled analysis of the STEP-HFpEF and STEP-HFpEF DM randomised trials.” </a:t>
            </a:r>
            <a:r>
              <a:rPr lang="en-GB">
                <a:solidFill>
                  <a:schemeClr val="bg2"/>
                </a:solidFill>
                <a:highlight>
                  <a:srgbClr val="FFFFFF"/>
                </a:highlight>
                <a:ea typeface="+mn-lt"/>
                <a:cs typeface="+mn-lt"/>
              </a:rPr>
              <a:t>Lancet (London, England)</a:t>
            </a:r>
            <a:r>
              <a:rPr lang="en-GB" i="0">
                <a:solidFill>
                  <a:schemeClr val="bg2"/>
                </a:solidFill>
                <a:highlight>
                  <a:srgbClr val="FFFFFF"/>
                </a:highlight>
                <a:ea typeface="+mn-lt"/>
                <a:cs typeface="+mn-lt"/>
              </a:rPr>
              <a:t> vol. 403,10437 (2024): 1635-1648. doi:10.1016/S0140-6736(24)00469-0</a:t>
            </a:r>
            <a:endParaRPr lang="en-US">
              <a:solidFill>
                <a:schemeClr val="bg2"/>
              </a:solidFill>
              <a:ea typeface="Apis For Office"/>
              <a:cs typeface="Apis For Office"/>
            </a:endParaRPr>
          </a:p>
        </p:txBody>
      </p:sp>
    </p:spTree>
    <p:extLst>
      <p:ext uri="{BB962C8B-B14F-4D97-AF65-F5344CB8AC3E}">
        <p14:creationId xmlns:p14="http://schemas.microsoft.com/office/powerpoint/2010/main" val="3311950335"/>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ABE7F-2BC3-105C-D130-4412150EDFF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CEF0630-0709-FE05-D44B-EAD1D0F16451}"/>
              </a:ext>
            </a:extLst>
          </p:cNvPr>
          <p:cNvSpPr txBox="1"/>
          <p:nvPr/>
        </p:nvSpPr>
        <p:spPr>
          <a:xfrm>
            <a:off x="2825750" y="324000"/>
            <a:ext cx="6253317" cy="308931"/>
          </a:xfrm>
          <a:prstGeom prst="rect">
            <a:avLst/>
          </a:prstGeom>
          <a:noFill/>
        </p:spPr>
        <p:txBody>
          <a:bodyPr wrap="square" lIns="0" tIns="0" rIns="0" bIns="0" rtlCol="0">
            <a:spAutoFit/>
          </a:bodyPr>
          <a:lstStyle/>
          <a:p>
            <a:pPr algn="l">
              <a:lnSpc>
                <a:spcPct val="120000"/>
              </a:lnSpc>
            </a:pPr>
            <a:r>
              <a:rPr lang="en-US" sz="1800" b="1">
                <a:solidFill>
                  <a:srgbClr val="001965"/>
                </a:solidFill>
              </a:rPr>
              <a:t>This presentation was developed by Novo Nordisk Inc.</a:t>
            </a:r>
          </a:p>
        </p:txBody>
      </p:sp>
      <p:sp>
        <p:nvSpPr>
          <p:cNvPr id="14" name="Text Placeholder 4">
            <a:extLst>
              <a:ext uri="{FF2B5EF4-FFF2-40B4-BE49-F238E27FC236}">
                <a16:creationId xmlns:a16="http://schemas.microsoft.com/office/drawing/2014/main" id="{771F8710-0564-0DE8-1E92-6CD4E110B0A6}"/>
              </a:ext>
            </a:extLst>
          </p:cNvPr>
          <p:cNvSpPr txBox="1">
            <a:spLocks/>
          </p:cNvSpPr>
          <p:nvPr/>
        </p:nvSpPr>
        <p:spPr>
          <a:xfrm>
            <a:off x="1188720" y="6163820"/>
            <a:ext cx="10355277" cy="324000"/>
          </a:xfrm>
          <a:prstGeom prst="rect">
            <a:avLst/>
          </a:prstGeom>
        </p:spPr>
        <p:txBody>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tx2"/>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tx2"/>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tx2"/>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tx2"/>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tx2"/>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tx2"/>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tx2"/>
                </a:solidFill>
                <a:latin typeface="+mn-lt"/>
                <a:ea typeface="+mn-ea"/>
                <a:cs typeface="+mn-cs"/>
              </a:defRPr>
            </a:lvl9pPr>
          </a:lstStyle>
          <a:p>
            <a:pPr marL="0" indent="0">
              <a:buFont typeface="Arial" panose="020B0604020202020204" pitchFamily="34" charset="0"/>
              <a:buNone/>
            </a:pPr>
            <a:r>
              <a:rPr lang="en-CA" sz="800" i="1">
                <a:solidFill>
                  <a:srgbClr val="939AA7"/>
                </a:solidFill>
              </a:rPr>
              <a:t>PI, prescribing information; OW, once-weekly; QR, quick response; URL, uniform resource locator.</a:t>
            </a:r>
          </a:p>
        </p:txBody>
      </p:sp>
      <p:sp>
        <p:nvSpPr>
          <p:cNvPr id="8" name="Rectangle: Diagonal Corners Rounded 7">
            <a:extLst>
              <a:ext uri="{FF2B5EF4-FFF2-40B4-BE49-F238E27FC236}">
                <a16:creationId xmlns:a16="http://schemas.microsoft.com/office/drawing/2014/main" id="{3CEA6705-4DB6-EE4B-57EC-9D39408CB566}"/>
              </a:ext>
            </a:extLst>
          </p:cNvPr>
          <p:cNvSpPr/>
          <p:nvPr/>
        </p:nvSpPr>
        <p:spPr>
          <a:xfrm>
            <a:off x="3996266" y="2726267"/>
            <a:ext cx="7571847" cy="1930400"/>
          </a:xfrm>
          <a:prstGeom prst="round2DiagRect">
            <a:avLst/>
          </a:prstGeom>
          <a:solidFill>
            <a:schemeClr val="accent5">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r>
              <a:rPr lang="en-CA" sz="3600">
                <a:solidFill>
                  <a:srgbClr val="001965"/>
                </a:solidFill>
              </a:rPr>
              <a:t>Semaglutide </a:t>
            </a:r>
            <a:br>
              <a:rPr lang="en-CA" sz="3600">
                <a:solidFill>
                  <a:srgbClr val="001965"/>
                </a:solidFill>
              </a:rPr>
            </a:br>
            <a:r>
              <a:rPr lang="en-CA" sz="3600">
                <a:solidFill>
                  <a:srgbClr val="001965"/>
                </a:solidFill>
              </a:rPr>
              <a:t>2.4 mg </a:t>
            </a:r>
            <a:r>
              <a:rPr lang="en-CA" sz="3600" dirty="0">
                <a:solidFill>
                  <a:srgbClr val="001965"/>
                </a:solidFill>
              </a:rPr>
              <a:t>once-weekly</a:t>
            </a:r>
            <a:r>
              <a:rPr lang="en-CA" sz="3600">
                <a:solidFill>
                  <a:srgbClr val="001965"/>
                </a:solidFill>
              </a:rPr>
              <a:t>: </a:t>
            </a:r>
            <a:br>
              <a:rPr lang="en-CA" sz="3600">
                <a:solidFill>
                  <a:srgbClr val="001965"/>
                </a:solidFill>
              </a:rPr>
            </a:br>
            <a:r>
              <a:rPr lang="en-CA" sz="3600">
                <a:solidFill>
                  <a:srgbClr val="001965"/>
                </a:solidFill>
              </a:rPr>
              <a:t>approved indications</a:t>
            </a:r>
            <a:endParaRPr lang="en-CA" sz="2000" noProof="0">
              <a:solidFill>
                <a:srgbClr val="001965"/>
              </a:solidFill>
            </a:endParaRPr>
          </a:p>
        </p:txBody>
      </p:sp>
      <p:grpSp>
        <p:nvGrpSpPr>
          <p:cNvPr id="15" name="Group 14">
            <a:extLst>
              <a:ext uri="{FF2B5EF4-FFF2-40B4-BE49-F238E27FC236}">
                <a16:creationId xmlns:a16="http://schemas.microsoft.com/office/drawing/2014/main" id="{4F5369FE-E76F-7157-69C8-40E9B92A6DCA}"/>
              </a:ext>
            </a:extLst>
          </p:cNvPr>
          <p:cNvGrpSpPr/>
          <p:nvPr/>
        </p:nvGrpSpPr>
        <p:grpSpPr>
          <a:xfrm>
            <a:off x="162293" y="1461770"/>
            <a:ext cx="6654772" cy="4311650"/>
            <a:chOff x="162293" y="1461770"/>
            <a:chExt cx="6654772" cy="4311650"/>
          </a:xfrm>
        </p:grpSpPr>
        <p:sp>
          <p:nvSpPr>
            <p:cNvPr id="3" name="Rectangle 2">
              <a:extLst>
                <a:ext uri="{FF2B5EF4-FFF2-40B4-BE49-F238E27FC236}">
                  <a16:creationId xmlns:a16="http://schemas.microsoft.com/office/drawing/2014/main" id="{93EB959E-F13B-495C-59D3-06D8FA8EFA7C}"/>
                </a:ext>
              </a:extLst>
            </p:cNvPr>
            <p:cNvSpPr/>
            <p:nvPr/>
          </p:nvSpPr>
          <p:spPr>
            <a:xfrm>
              <a:off x="203613" y="1461770"/>
              <a:ext cx="6613452" cy="431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6" name="TextBox 5">
              <a:extLst>
                <a:ext uri="{FF2B5EF4-FFF2-40B4-BE49-F238E27FC236}">
                  <a16:creationId xmlns:a16="http://schemas.microsoft.com/office/drawing/2014/main" id="{83C63414-FAB1-BB11-13E2-DC89AB85767A}"/>
                </a:ext>
              </a:extLst>
            </p:cNvPr>
            <p:cNvSpPr txBox="1"/>
            <p:nvPr/>
          </p:nvSpPr>
          <p:spPr>
            <a:xfrm>
              <a:off x="1713435" y="1558155"/>
              <a:ext cx="3593804" cy="343235"/>
            </a:xfrm>
            <a:prstGeom prst="rect">
              <a:avLst/>
            </a:prstGeom>
            <a:noFill/>
          </p:spPr>
          <p:txBody>
            <a:bodyPr wrap="square" lIns="0" tIns="0" rIns="0" bIns="0" rtlCol="0">
              <a:spAutoFit/>
            </a:bodyPr>
            <a:lstStyle/>
            <a:p>
              <a:pPr algn="ctr">
                <a:lnSpc>
                  <a:spcPct val="120000"/>
                </a:lnSpc>
              </a:pPr>
              <a:r>
                <a:rPr lang="en-CA" sz="2000" b="1">
                  <a:solidFill>
                    <a:schemeClr val="tx2"/>
                  </a:solidFill>
                </a:rPr>
                <a:t>Access the approved PI</a:t>
              </a:r>
            </a:p>
          </p:txBody>
        </p:sp>
        <p:sp>
          <p:nvSpPr>
            <p:cNvPr id="7" name="TextBox 6">
              <a:extLst>
                <a:ext uri="{FF2B5EF4-FFF2-40B4-BE49-F238E27FC236}">
                  <a16:creationId xmlns:a16="http://schemas.microsoft.com/office/drawing/2014/main" id="{7954F4A0-DFCF-513B-6C49-9B785FB7187B}"/>
                </a:ext>
              </a:extLst>
            </p:cNvPr>
            <p:cNvSpPr txBox="1"/>
            <p:nvPr/>
          </p:nvSpPr>
          <p:spPr>
            <a:xfrm>
              <a:off x="162293" y="2128621"/>
              <a:ext cx="2946667" cy="1080167"/>
            </a:xfrm>
            <a:prstGeom prst="rect">
              <a:avLst/>
            </a:prstGeom>
            <a:noFill/>
          </p:spPr>
          <p:txBody>
            <a:bodyPr wrap="square" lIns="0" tIns="0" rIns="0" bIns="0" rtlCol="0" anchor="t">
              <a:spAutoFit/>
            </a:bodyPr>
            <a:lstStyle/>
            <a:p>
              <a:pPr algn="ctr">
                <a:lnSpc>
                  <a:spcPct val="120000"/>
                </a:lnSpc>
              </a:pPr>
              <a:r>
                <a:rPr lang="en-CA" sz="2000" b="1">
                  <a:solidFill>
                    <a:schemeClr val="tx2"/>
                  </a:solidFill>
                </a:rPr>
                <a:t>Click the URL</a:t>
              </a:r>
              <a:endParaRPr lang="en-CA" sz="2000" b="1">
                <a:solidFill>
                  <a:schemeClr val="tx2"/>
                </a:solidFill>
                <a:ea typeface="Apis For Office"/>
                <a:cs typeface="Apis For Office"/>
              </a:endParaRPr>
            </a:p>
            <a:p>
              <a:pPr algn="ctr">
                <a:lnSpc>
                  <a:spcPct val="120000"/>
                </a:lnSpc>
              </a:pPr>
              <a:r>
                <a:rPr lang="en-CA" sz="2000">
                  <a:solidFill>
                    <a:srgbClr val="0000EE"/>
                  </a:solidFill>
                  <a:highlight>
                    <a:srgbClr val="FFFFFF"/>
                  </a:highlight>
                  <a:latin typeface="Segoe UI"/>
                  <a:ea typeface="Apis For Office"/>
                  <a:cs typeface="Segoe UI"/>
                  <a:hlinkClick r:id="rId3"/>
                </a:rPr>
                <a:t>https://www.novo-pi.com/wegovy.pdf</a:t>
              </a:r>
              <a:endParaRPr lang="en-CA" sz="2000"/>
            </a:p>
          </p:txBody>
        </p:sp>
        <p:pic>
          <p:nvPicPr>
            <p:cNvPr id="10" name="Picture 9" descr="A qr code with a few squares&#10;&#10;AI-generated content may be incorrect.">
              <a:extLst>
                <a:ext uri="{FF2B5EF4-FFF2-40B4-BE49-F238E27FC236}">
                  <a16:creationId xmlns:a16="http://schemas.microsoft.com/office/drawing/2014/main" id="{0AEA7B3B-5F31-5F05-4D13-9C4F7B5369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20958" y="2745456"/>
              <a:ext cx="2772565" cy="2772565"/>
            </a:xfrm>
            <a:prstGeom prst="rect">
              <a:avLst/>
            </a:prstGeom>
          </p:spPr>
        </p:pic>
        <p:sp>
          <p:nvSpPr>
            <p:cNvPr id="11" name="TextBox 10">
              <a:extLst>
                <a:ext uri="{FF2B5EF4-FFF2-40B4-BE49-F238E27FC236}">
                  <a16:creationId xmlns:a16="http://schemas.microsoft.com/office/drawing/2014/main" id="{BC33A62A-8370-C19B-22A2-4EBDBE8BF20A}"/>
                </a:ext>
              </a:extLst>
            </p:cNvPr>
            <p:cNvSpPr txBox="1"/>
            <p:nvPr/>
          </p:nvSpPr>
          <p:spPr>
            <a:xfrm>
              <a:off x="3833906" y="2128621"/>
              <a:ext cx="2946667" cy="343235"/>
            </a:xfrm>
            <a:prstGeom prst="rect">
              <a:avLst/>
            </a:prstGeom>
            <a:noFill/>
          </p:spPr>
          <p:txBody>
            <a:bodyPr wrap="square" lIns="0" tIns="0" rIns="0" bIns="0" rtlCol="0">
              <a:spAutoFit/>
            </a:bodyPr>
            <a:lstStyle/>
            <a:p>
              <a:pPr algn="ctr">
                <a:lnSpc>
                  <a:spcPct val="120000"/>
                </a:lnSpc>
              </a:pPr>
              <a:r>
                <a:rPr lang="en-CA" sz="2000" b="1">
                  <a:solidFill>
                    <a:schemeClr val="tx2"/>
                  </a:solidFill>
                </a:rPr>
                <a:t>Scan the QR code</a:t>
              </a:r>
            </a:p>
          </p:txBody>
        </p:sp>
        <p:sp>
          <p:nvSpPr>
            <p:cNvPr id="12" name="TextBox 11">
              <a:extLst>
                <a:ext uri="{FF2B5EF4-FFF2-40B4-BE49-F238E27FC236}">
                  <a16:creationId xmlns:a16="http://schemas.microsoft.com/office/drawing/2014/main" id="{7DC39382-225F-F31C-1CFA-62FC7050A99B}"/>
                </a:ext>
              </a:extLst>
            </p:cNvPr>
            <p:cNvSpPr txBox="1"/>
            <p:nvPr/>
          </p:nvSpPr>
          <p:spPr>
            <a:xfrm>
              <a:off x="1838693" y="2239849"/>
              <a:ext cx="2946667" cy="343235"/>
            </a:xfrm>
            <a:prstGeom prst="rect">
              <a:avLst/>
            </a:prstGeom>
            <a:noFill/>
          </p:spPr>
          <p:txBody>
            <a:bodyPr wrap="square" lIns="0" tIns="0" rIns="0" bIns="0" rtlCol="0">
              <a:spAutoFit/>
            </a:bodyPr>
            <a:lstStyle/>
            <a:p>
              <a:pPr algn="ctr">
                <a:lnSpc>
                  <a:spcPct val="120000"/>
                </a:lnSpc>
              </a:pPr>
              <a:r>
                <a:rPr lang="en-CA" sz="2000" i="1">
                  <a:solidFill>
                    <a:schemeClr val="tx2"/>
                  </a:solidFill>
                </a:rPr>
                <a:t>OR</a:t>
              </a:r>
            </a:p>
          </p:txBody>
        </p:sp>
      </p:grpSp>
      <p:grpSp>
        <p:nvGrpSpPr>
          <p:cNvPr id="16" name="Group 15">
            <a:extLst>
              <a:ext uri="{FF2B5EF4-FFF2-40B4-BE49-F238E27FC236}">
                <a16:creationId xmlns:a16="http://schemas.microsoft.com/office/drawing/2014/main" id="{21D166C1-EF04-B125-3793-90BE555642CC}"/>
              </a:ext>
            </a:extLst>
          </p:cNvPr>
          <p:cNvGrpSpPr/>
          <p:nvPr/>
        </p:nvGrpSpPr>
        <p:grpSpPr>
          <a:xfrm>
            <a:off x="61846" y="49619"/>
            <a:ext cx="318709" cy="330616"/>
            <a:chOff x="61846" y="49619"/>
            <a:chExt cx="318709" cy="330616"/>
          </a:xfrm>
          <a:solidFill>
            <a:schemeClr val="accent2"/>
          </a:solidFill>
        </p:grpSpPr>
        <p:sp>
          <p:nvSpPr>
            <p:cNvPr id="4" name="Oval 3">
              <a:extLst>
                <a:ext uri="{FF2B5EF4-FFF2-40B4-BE49-F238E27FC236}">
                  <a16:creationId xmlns:a16="http://schemas.microsoft.com/office/drawing/2014/main" id="{D09FD597-470B-4A0D-1793-ADD0B452BD57}"/>
                </a:ext>
              </a:extLst>
            </p:cNvPr>
            <p:cNvSpPr/>
            <p:nvPr/>
          </p:nvSpPr>
          <p:spPr>
            <a:xfrm>
              <a:off x="226088" y="49619"/>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5" name="Oval 4">
              <a:extLst>
                <a:ext uri="{FF2B5EF4-FFF2-40B4-BE49-F238E27FC236}">
                  <a16:creationId xmlns:a16="http://schemas.microsoft.com/office/drawing/2014/main" id="{5E426D94-3A3A-8B2C-747E-9CB0CEAC34B8}"/>
                </a:ext>
              </a:extLst>
            </p:cNvPr>
            <p:cNvSpPr/>
            <p:nvPr/>
          </p:nvSpPr>
          <p:spPr>
            <a:xfrm>
              <a:off x="61846" y="182233"/>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9" name="Oval 8">
              <a:extLst>
                <a:ext uri="{FF2B5EF4-FFF2-40B4-BE49-F238E27FC236}">
                  <a16:creationId xmlns:a16="http://schemas.microsoft.com/office/drawing/2014/main" id="{CF17E47C-3796-58E4-9A56-A9B22ABE2C3E}"/>
                </a:ext>
              </a:extLst>
            </p:cNvPr>
            <p:cNvSpPr/>
            <p:nvPr/>
          </p:nvSpPr>
          <p:spPr>
            <a:xfrm>
              <a:off x="238788" y="238468"/>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grpSp>
    </p:spTree>
    <p:extLst>
      <p:ext uri="{BB962C8B-B14F-4D97-AF65-F5344CB8AC3E}">
        <p14:creationId xmlns:p14="http://schemas.microsoft.com/office/powerpoint/2010/main" val="2461262405"/>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CC621-0B83-E05E-C2ED-9B0ABDE19E17}"/>
              </a:ext>
            </a:extLst>
          </p:cNvPr>
          <p:cNvSpPr>
            <a:spLocks noGrp="1"/>
          </p:cNvSpPr>
          <p:nvPr>
            <p:ph type="title"/>
          </p:nvPr>
        </p:nvSpPr>
        <p:spPr>
          <a:xfrm>
            <a:off x="648000" y="197050"/>
            <a:ext cx="10896000" cy="1296000"/>
          </a:xfrm>
        </p:spPr>
        <p:txBody>
          <a:bodyPr/>
          <a:lstStyle/>
          <a:p>
            <a:r>
              <a:rPr lang="en-US" sz="2800">
                <a:ea typeface="Apis For Office"/>
                <a:cs typeface="Apis For Office"/>
              </a:rPr>
              <a:t>Novo Nordisk provides the </a:t>
            </a:r>
            <a:r>
              <a:rPr lang="en-CA" sz="2800">
                <a:ea typeface="Apis For Office"/>
                <a:cs typeface="Apis For Office"/>
              </a:rPr>
              <a:t>following disclosures as to the authors related to </a:t>
            </a:r>
            <a:r>
              <a:rPr lang="en-US" sz="2800">
                <a:ea typeface="Apis For Office"/>
                <a:cs typeface="Apis For Office"/>
              </a:rPr>
              <a:t>the period of writing, editing, and/or contributing to the source publication</a:t>
            </a:r>
            <a:endParaRPr lang="en-GB" sz="2800">
              <a:solidFill>
                <a:srgbClr val="000000"/>
              </a:solidFill>
              <a:ea typeface="Apis For Office"/>
              <a:cs typeface="Apis For Office"/>
            </a:endParaRPr>
          </a:p>
          <a:p>
            <a:endParaRPr lang="en-GB">
              <a:ea typeface="Apis For Office"/>
              <a:cs typeface="Apis For Office"/>
            </a:endParaRPr>
          </a:p>
        </p:txBody>
      </p:sp>
      <p:sp>
        <p:nvSpPr>
          <p:cNvPr id="3" name="Content Placeholder 2">
            <a:extLst>
              <a:ext uri="{FF2B5EF4-FFF2-40B4-BE49-F238E27FC236}">
                <a16:creationId xmlns:a16="http://schemas.microsoft.com/office/drawing/2014/main" id="{FE352528-FBFF-8691-BAE2-CDDA84A961FB}"/>
              </a:ext>
            </a:extLst>
          </p:cNvPr>
          <p:cNvSpPr>
            <a:spLocks noGrp="1"/>
          </p:cNvSpPr>
          <p:nvPr>
            <p:ph idx="1"/>
          </p:nvPr>
        </p:nvSpPr>
        <p:spPr>
          <a:xfrm>
            <a:off x="583992" y="1493050"/>
            <a:ext cx="10896000" cy="4269600"/>
          </a:xfrm>
        </p:spPr>
        <p:txBody>
          <a:bodyPr vert="horz" lIns="0" tIns="0" rIns="0" bIns="0" rtlCol="0" anchor="t">
            <a:noAutofit/>
          </a:bodyPr>
          <a:lstStyle/>
          <a:p>
            <a:pPr marL="269875" indent="-269875"/>
            <a:r>
              <a:rPr lang="en-GB" sz="1800" b="1">
                <a:ea typeface="Apis For Office"/>
                <a:cs typeface="Apis For Office"/>
              </a:rPr>
              <a:t>C</a:t>
            </a:r>
            <a:r>
              <a:rPr lang="en-GB" sz="1800" b="1">
                <a:ea typeface="+mn-lt"/>
                <a:cs typeface="+mn-lt"/>
              </a:rPr>
              <a:t>ecilia </a:t>
            </a:r>
            <a:r>
              <a:rPr lang="en-GB" sz="1800" b="1" err="1">
                <a:ea typeface="+mn-lt"/>
                <a:cs typeface="+mn-lt"/>
              </a:rPr>
              <a:t>Rönnbäck</a:t>
            </a:r>
            <a:r>
              <a:rPr lang="en-GB" sz="1800">
                <a:ea typeface="+mn-lt"/>
                <a:cs typeface="+mn-lt"/>
              </a:rPr>
              <a:t>- Employee of Novo Nordisk.</a:t>
            </a:r>
          </a:p>
          <a:p>
            <a:pPr marL="269875" indent="-269875"/>
            <a:r>
              <a:rPr lang="en-GB" sz="1800" b="1">
                <a:ea typeface="+mn-lt"/>
                <a:cs typeface="+mn-lt"/>
              </a:rPr>
              <a:t>Anne </a:t>
            </a:r>
            <a:r>
              <a:rPr lang="en-GB" sz="1800" b="1" err="1">
                <a:ea typeface="+mn-lt"/>
                <a:cs typeface="+mn-lt"/>
              </a:rPr>
              <a:t>Domdey</a:t>
            </a:r>
            <a:r>
              <a:rPr lang="en-GB" sz="1800">
                <a:ea typeface="+mn-lt"/>
                <a:cs typeface="+mn-lt"/>
              </a:rPr>
              <a:t>- Employee and shareholder of Novo Nordisk.</a:t>
            </a:r>
          </a:p>
          <a:p>
            <a:pPr marL="269875" indent="-269875"/>
            <a:r>
              <a:rPr lang="en-GB" sz="1800" b="1">
                <a:ea typeface="+mn-lt"/>
                <a:cs typeface="+mn-lt"/>
              </a:rPr>
              <a:t>Søren Rasmussen</a:t>
            </a:r>
            <a:r>
              <a:rPr lang="en-GB" sz="1800">
                <a:ea typeface="+mn-lt"/>
                <a:cs typeface="+mn-lt"/>
              </a:rPr>
              <a:t>- Employee of Novo Nordisk.</a:t>
            </a:r>
          </a:p>
          <a:p>
            <a:pPr marL="269875" indent="-269875"/>
            <a:r>
              <a:rPr lang="en-GB" sz="1800" b="1">
                <a:ea typeface="+mn-lt"/>
                <a:cs typeface="+mn-lt"/>
              </a:rPr>
              <a:t>Ambarish Pandey</a:t>
            </a:r>
            <a:r>
              <a:rPr lang="en-GB" sz="1800">
                <a:ea typeface="+mn-lt"/>
                <a:cs typeface="+mn-lt"/>
              </a:rPr>
              <a:t>-  Consultant/advisor roles include Novo Nordisk.</a:t>
            </a:r>
          </a:p>
          <a:p>
            <a:pPr marL="269875" indent="-269875"/>
            <a:r>
              <a:rPr lang="en-GB" sz="1800" b="1">
                <a:ea typeface="+mn-lt"/>
                <a:cs typeface="+mn-lt"/>
              </a:rPr>
              <a:t>Subodh Verma</a:t>
            </a:r>
            <a:r>
              <a:rPr lang="en-GB" sz="1800">
                <a:ea typeface="+mn-lt"/>
                <a:cs typeface="+mn-lt"/>
              </a:rPr>
              <a:t>- Consulting/speaking honoraria include Novo Nordisk.</a:t>
            </a:r>
          </a:p>
          <a:p>
            <a:pPr marL="269875" indent="-269875"/>
            <a:r>
              <a:rPr lang="en-GB" sz="1800" b="1">
                <a:ea typeface="+mn-lt"/>
                <a:cs typeface="+mn-lt"/>
              </a:rPr>
              <a:t>Barry A. Borlaug</a:t>
            </a:r>
            <a:r>
              <a:rPr lang="en-GB" sz="1800">
                <a:ea typeface="+mn-lt"/>
                <a:cs typeface="+mn-lt"/>
              </a:rPr>
              <a:t>- Consultant and recipient of research funding from Novo Nordisk.</a:t>
            </a:r>
          </a:p>
          <a:p>
            <a:pPr marL="269875" indent="-269875"/>
            <a:r>
              <a:rPr lang="en-GB" sz="1800" b="1">
                <a:ea typeface="+mn-lt"/>
                <a:cs typeface="+mn-lt"/>
              </a:rPr>
              <a:t>Melanie J. Davies</a:t>
            </a:r>
            <a:r>
              <a:rPr lang="en-GB" sz="1800">
                <a:ea typeface="+mn-lt"/>
                <a:cs typeface="+mn-lt"/>
              </a:rPr>
              <a:t>- Consultant, advisory board member, speaker, and grant recipient from Novo Nordisk.</a:t>
            </a:r>
          </a:p>
          <a:p>
            <a:pPr marL="269875" indent="-269875"/>
            <a:r>
              <a:rPr lang="en-GB" sz="1800" b="1">
                <a:ea typeface="+mn-lt"/>
                <a:cs typeface="+mn-lt"/>
              </a:rPr>
              <a:t>Dalane W. Kitzman</a:t>
            </a:r>
            <a:r>
              <a:rPr lang="en-GB" sz="1800">
                <a:ea typeface="+mn-lt"/>
                <a:cs typeface="+mn-lt"/>
              </a:rPr>
              <a:t>- Consulting honoraria and research funding from Novo Nordisk.</a:t>
            </a:r>
          </a:p>
          <a:p>
            <a:pPr marL="269875" indent="-269875"/>
            <a:r>
              <a:rPr lang="en-GB" sz="1800" b="1">
                <a:ea typeface="+mn-lt"/>
                <a:cs typeface="+mn-lt"/>
              </a:rPr>
              <a:t>Sanjiv J. Shah</a:t>
            </a:r>
            <a:r>
              <a:rPr lang="en-GB" sz="1800">
                <a:ea typeface="+mn-lt"/>
                <a:cs typeface="+mn-lt"/>
              </a:rPr>
              <a:t>- Consulting fees from Novo Nordisk.</a:t>
            </a:r>
            <a:endParaRPr lang="en-GB" sz="1800">
              <a:ea typeface="Apis For Office"/>
              <a:cs typeface="Apis For Office"/>
            </a:endParaRPr>
          </a:p>
          <a:p>
            <a:pPr marL="269875" indent="-269875"/>
            <a:r>
              <a:rPr lang="en-GB" sz="1800" b="1">
                <a:ea typeface="+mn-lt"/>
                <a:cs typeface="+mn-lt"/>
              </a:rPr>
              <a:t>Mark C. Petrie</a:t>
            </a:r>
            <a:r>
              <a:rPr lang="en-GB" sz="1800">
                <a:ea typeface="+mn-lt"/>
                <a:cs typeface="+mn-lt"/>
              </a:rPr>
              <a:t>- Consultant and research funding from Novo Nordisk.</a:t>
            </a:r>
            <a:endParaRPr lang="en-GB" sz="1800">
              <a:ea typeface="Apis For Office"/>
              <a:cs typeface="Apis For Office"/>
            </a:endParaRPr>
          </a:p>
          <a:p>
            <a:pPr marL="269875" indent="-269875"/>
            <a:r>
              <a:rPr lang="en-GB" sz="1800" b="1">
                <a:ea typeface="+mn-lt"/>
                <a:cs typeface="+mn-lt"/>
              </a:rPr>
              <a:t>Mikhail N. </a:t>
            </a:r>
            <a:r>
              <a:rPr lang="en-GB" sz="1800" b="1" err="1">
                <a:ea typeface="+mn-lt"/>
                <a:cs typeface="+mn-lt"/>
              </a:rPr>
              <a:t>Kosiborod</a:t>
            </a:r>
            <a:r>
              <a:rPr lang="en-GB" sz="1800">
                <a:ea typeface="+mn-lt"/>
                <a:cs typeface="+mn-lt"/>
              </a:rPr>
              <a:t>-  Consultant/advisory board member; received honoraria from Novo Nordisk.</a:t>
            </a:r>
            <a:endParaRPr lang="en-GB" sz="1800">
              <a:ea typeface="Apis For Office"/>
              <a:cs typeface="Apis For Office"/>
            </a:endParaRPr>
          </a:p>
          <a:p>
            <a:pPr marL="269875" indent="-269875"/>
            <a:endParaRPr lang="en-GB">
              <a:ea typeface="Apis For Office"/>
              <a:cs typeface="Apis For Office"/>
            </a:endParaRPr>
          </a:p>
        </p:txBody>
      </p:sp>
      <p:sp>
        <p:nvSpPr>
          <p:cNvPr id="5" name="TextBox 4">
            <a:extLst>
              <a:ext uri="{FF2B5EF4-FFF2-40B4-BE49-F238E27FC236}">
                <a16:creationId xmlns:a16="http://schemas.microsoft.com/office/drawing/2014/main" id="{B873A704-BF81-9F4F-4352-D6004FA8B54A}"/>
              </a:ext>
            </a:extLst>
          </p:cNvPr>
          <p:cNvSpPr txBox="1"/>
          <p:nvPr/>
        </p:nvSpPr>
        <p:spPr>
          <a:xfrm>
            <a:off x="386334" y="6322396"/>
            <a:ext cx="12104370" cy="338554"/>
          </a:xfrm>
          <a:prstGeom prst="rect">
            <a:avLst/>
          </a:prstGeom>
          <a:noFill/>
        </p:spPr>
        <p:txBody>
          <a:bodyPr wrap="square" lIns="91440" tIns="45720" rIns="91440" bIns="45720" anchor="t">
            <a:spAutoFit/>
          </a:bodyPr>
          <a:lstStyle/>
          <a:p>
            <a:r>
              <a:rPr lang="en-GB" sz="800">
                <a:solidFill>
                  <a:schemeClr val="bg2"/>
                </a:solidFill>
                <a:highlight>
                  <a:srgbClr val="FFFFFF"/>
                </a:highlight>
                <a:ea typeface="+mn-lt"/>
                <a:cs typeface="+mn-lt"/>
              </a:rPr>
              <a:t>Pandey, Ambarish et al. “Effects of semaglutide in obesity-related heart failure with preserved ejection fraction across the age spectrum: Findings from the STEP-HFpEF programme.” </a:t>
            </a:r>
            <a:r>
              <a:rPr lang="en-GB" sz="800" i="1">
                <a:solidFill>
                  <a:schemeClr val="bg2"/>
                </a:solidFill>
                <a:highlight>
                  <a:srgbClr val="FFFFFF"/>
                </a:highlight>
                <a:ea typeface="+mn-lt"/>
                <a:cs typeface="+mn-lt"/>
              </a:rPr>
              <a:t>European journal of heart failure</a:t>
            </a:r>
            <a:r>
              <a:rPr lang="en-GB" sz="800">
                <a:solidFill>
                  <a:schemeClr val="bg2"/>
                </a:solidFill>
                <a:highlight>
                  <a:srgbClr val="FFFFFF"/>
                </a:highlight>
                <a:ea typeface="+mn-lt"/>
                <a:cs typeface="+mn-lt"/>
              </a:rPr>
              <a:t> vol. 27,11 (2025): 2537-2543. doi:10.1002/ejhf.70049</a:t>
            </a:r>
            <a:endParaRPr lang="en-US" sz="800">
              <a:solidFill>
                <a:schemeClr val="bg2"/>
              </a:solidFill>
              <a:ea typeface="Apis For Office"/>
              <a:cs typeface="Apis For Office"/>
            </a:endParaRPr>
          </a:p>
        </p:txBody>
      </p:sp>
    </p:spTree>
    <p:extLst>
      <p:ext uri="{BB962C8B-B14F-4D97-AF65-F5344CB8AC3E}">
        <p14:creationId xmlns:p14="http://schemas.microsoft.com/office/powerpoint/2010/main" val="3905082617"/>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DC368AF-57F1-937C-6820-BD358C76F58C}"/>
              </a:ext>
            </a:extLst>
          </p:cNvPr>
          <p:cNvSpPr>
            <a:spLocks noGrp="1"/>
          </p:cNvSpPr>
          <p:nvPr>
            <p:ph type="body" sz="quarter" idx="13"/>
          </p:nvPr>
        </p:nvSpPr>
        <p:spPr/>
        <p:txBody>
          <a:bodyPr/>
          <a:lstStyle/>
          <a:p>
            <a:r>
              <a:rPr lang="en-CA" dirty="0"/>
              <a:t>FDA, Food and Drug Administration. </a:t>
            </a:r>
          </a:p>
        </p:txBody>
      </p:sp>
      <p:sp>
        <p:nvSpPr>
          <p:cNvPr id="5" name="Rectangle 4">
            <a:extLst>
              <a:ext uri="{FF2B5EF4-FFF2-40B4-BE49-F238E27FC236}">
                <a16:creationId xmlns:a16="http://schemas.microsoft.com/office/drawing/2014/main" id="{C21D17F2-F2C8-A0AA-26DD-C30ABD9AC771}"/>
              </a:ext>
            </a:extLst>
          </p:cNvPr>
          <p:cNvSpPr/>
          <p:nvPr/>
        </p:nvSpPr>
        <p:spPr>
          <a:xfrm>
            <a:off x="648000" y="2181013"/>
            <a:ext cx="10896001" cy="2817708"/>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spcAft>
                <a:spcPts val="600"/>
              </a:spcAft>
            </a:pPr>
            <a:r>
              <a:rPr lang="en-US" b="1" i="0">
                <a:solidFill>
                  <a:schemeClr val="tx2"/>
                </a:solidFill>
                <a:effectLst/>
              </a:rPr>
              <a:t>Semaglutide 2.4 mg has not been approved by the FDA for treatment of</a:t>
            </a:r>
            <a:r>
              <a:rPr lang="en-US" b="1">
                <a:solidFill>
                  <a:schemeClr val="tx2"/>
                </a:solidFill>
              </a:rPr>
              <a:t> obesity-</a:t>
            </a:r>
            <a:r>
              <a:rPr lang="en-US" b="1" dirty="0">
                <a:solidFill>
                  <a:schemeClr val="tx2"/>
                </a:solidFill>
              </a:rPr>
              <a:t>rela</a:t>
            </a:r>
            <a:r>
              <a:rPr lang="en-US" b="1">
                <a:solidFill>
                  <a:schemeClr val="tx2"/>
                </a:solidFill>
              </a:rPr>
              <a:t>ted</a:t>
            </a:r>
            <a:r>
              <a:rPr lang="en-US" b="1" i="0">
                <a:solidFill>
                  <a:schemeClr val="tx2"/>
                </a:solidFill>
                <a:effectLst/>
              </a:rPr>
              <a:t> </a:t>
            </a:r>
            <a:r>
              <a:rPr lang="en-US" b="1">
                <a:solidFill>
                  <a:schemeClr val="tx2"/>
                </a:solidFill>
              </a:rPr>
              <a:t>heart failure with preserved ejection fraction (HFpEF) </a:t>
            </a:r>
            <a:r>
              <a:rPr lang="en-US" b="1" i="0">
                <a:solidFill>
                  <a:schemeClr val="tx2"/>
                </a:solidFill>
                <a:effectLst/>
              </a:rPr>
              <a:t>in people with </a:t>
            </a:r>
            <a:r>
              <a:rPr lang="en-US" b="1">
                <a:solidFill>
                  <a:schemeClr val="tx2"/>
                </a:solidFill>
              </a:rPr>
              <a:t>or without type 2 diabetes</a:t>
            </a:r>
            <a:r>
              <a:rPr lang="en-US" b="1" i="0">
                <a:solidFill>
                  <a:schemeClr val="tx2"/>
                </a:solidFill>
                <a:effectLst/>
              </a:rPr>
              <a:t>, and the safety and effectiveness of semaglutide 2.4 mg for</a:t>
            </a:r>
            <a:r>
              <a:rPr lang="en-US" b="1">
                <a:solidFill>
                  <a:schemeClr val="tx2"/>
                </a:solidFill>
              </a:rPr>
              <a:t> the</a:t>
            </a:r>
            <a:r>
              <a:rPr lang="en-US" b="1" i="0">
                <a:solidFill>
                  <a:schemeClr val="tx2"/>
                </a:solidFill>
                <a:effectLst/>
              </a:rPr>
              <a:t> treatment of </a:t>
            </a:r>
            <a:r>
              <a:rPr lang="en-US" b="1">
                <a:solidFill>
                  <a:schemeClr val="tx2"/>
                </a:solidFill>
              </a:rPr>
              <a:t>HFpEF</a:t>
            </a:r>
            <a:r>
              <a:rPr lang="en-US" b="1" i="0">
                <a:solidFill>
                  <a:schemeClr val="tx2"/>
                </a:solidFill>
                <a:effectLst/>
              </a:rPr>
              <a:t> has not been established</a:t>
            </a:r>
            <a:r>
              <a:rPr lang="en-US" b="1">
                <a:solidFill>
                  <a:schemeClr val="tx2"/>
                </a:solidFill>
              </a:rPr>
              <a:t>.</a:t>
            </a:r>
            <a:endParaRPr lang="en-US" b="1" i="0">
              <a:solidFill>
                <a:schemeClr val="tx2"/>
              </a:solidFill>
              <a:effectLst/>
            </a:endParaRPr>
          </a:p>
        </p:txBody>
      </p:sp>
      <p:grpSp>
        <p:nvGrpSpPr>
          <p:cNvPr id="3" name="Group 2">
            <a:extLst>
              <a:ext uri="{FF2B5EF4-FFF2-40B4-BE49-F238E27FC236}">
                <a16:creationId xmlns:a16="http://schemas.microsoft.com/office/drawing/2014/main" id="{E7334FB8-BBA5-4C87-D38D-D74934E0C40E}"/>
              </a:ext>
            </a:extLst>
          </p:cNvPr>
          <p:cNvGrpSpPr/>
          <p:nvPr/>
        </p:nvGrpSpPr>
        <p:grpSpPr>
          <a:xfrm>
            <a:off x="61846" y="49619"/>
            <a:ext cx="318709" cy="330616"/>
            <a:chOff x="61846" y="49619"/>
            <a:chExt cx="318709" cy="330616"/>
          </a:xfrm>
          <a:solidFill>
            <a:schemeClr val="accent2"/>
          </a:solidFill>
        </p:grpSpPr>
        <p:sp>
          <p:nvSpPr>
            <p:cNvPr id="7" name="Oval 6">
              <a:extLst>
                <a:ext uri="{FF2B5EF4-FFF2-40B4-BE49-F238E27FC236}">
                  <a16:creationId xmlns:a16="http://schemas.microsoft.com/office/drawing/2014/main" id="{E0706D22-DE1A-C70F-ED20-4BD95085F44A}"/>
                </a:ext>
              </a:extLst>
            </p:cNvPr>
            <p:cNvSpPr/>
            <p:nvPr/>
          </p:nvSpPr>
          <p:spPr>
            <a:xfrm>
              <a:off x="226088" y="49619"/>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8" name="Oval 7">
              <a:extLst>
                <a:ext uri="{FF2B5EF4-FFF2-40B4-BE49-F238E27FC236}">
                  <a16:creationId xmlns:a16="http://schemas.microsoft.com/office/drawing/2014/main" id="{42621763-F793-303B-7D18-7E47C02BB2AA}"/>
                </a:ext>
              </a:extLst>
            </p:cNvPr>
            <p:cNvSpPr/>
            <p:nvPr/>
          </p:nvSpPr>
          <p:spPr>
            <a:xfrm>
              <a:off x="61846" y="182233"/>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sp>
          <p:nvSpPr>
            <p:cNvPr id="9" name="Oval 8">
              <a:extLst>
                <a:ext uri="{FF2B5EF4-FFF2-40B4-BE49-F238E27FC236}">
                  <a16:creationId xmlns:a16="http://schemas.microsoft.com/office/drawing/2014/main" id="{53A8FF0E-0710-2784-82B5-D4D0EC4FAA92}"/>
                </a:ext>
              </a:extLst>
            </p:cNvPr>
            <p:cNvSpPr/>
            <p:nvPr/>
          </p:nvSpPr>
          <p:spPr>
            <a:xfrm>
              <a:off x="238788" y="238468"/>
              <a:ext cx="141767" cy="1417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2000" noProof="0" err="1"/>
            </a:p>
          </p:txBody>
        </p:sp>
      </p:grpSp>
      <p:sp>
        <p:nvSpPr>
          <p:cNvPr id="2" name="Rectangle 1">
            <a:extLst>
              <a:ext uri="{FF2B5EF4-FFF2-40B4-BE49-F238E27FC236}">
                <a16:creationId xmlns:a16="http://schemas.microsoft.com/office/drawing/2014/main" id="{217DBDB6-3FF8-13E6-37B8-E9E1343D758A}"/>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dirty="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dirty="0">
                <a:solidFill>
                  <a:srgbClr val="FFFFFF"/>
                </a:solidFill>
                <a:latin typeface="Apis For Office"/>
                <a:ea typeface="Apis For Office"/>
                <a:cs typeface="Apis For Office"/>
                <a:sym typeface="Apis For Office" panose="020B0504010101010104" pitchFamily="34" charset="0"/>
              </a:rPr>
              <a:t> </a:t>
            </a:r>
            <a:r>
              <a:rPr lang="en-GB" sz="1100" dirty="0">
                <a:solidFill>
                  <a:srgbClr val="0000EE"/>
                </a:solidFill>
                <a:highlight>
                  <a:srgbClr val="FFFFFF"/>
                </a:highlight>
                <a:latin typeface="Segoe UI"/>
                <a:ea typeface="Apis For Office"/>
                <a:cs typeface="Segoe UI"/>
                <a:sym typeface="Apis For Office" panose="020B0504010101010104" pitchFamily="34" charset="0"/>
                <a:hlinkClick r:id="rId4"/>
              </a:rPr>
              <a:t>https://www.novo-pi.com/wegovy.pdf</a:t>
            </a:r>
            <a:r>
              <a:rPr lang="en-GB" sz="1200" dirty="0">
                <a:solidFill>
                  <a:srgbClr val="EAAB00"/>
                </a:solidFill>
                <a:latin typeface="Apis For Office"/>
                <a:ea typeface="Apis For Office"/>
                <a:cs typeface="Apis For Office"/>
                <a:sym typeface="Apis For Office" panose="020B0504010101010104" pitchFamily="34" charset="0"/>
              </a:rPr>
              <a:t> </a:t>
            </a:r>
            <a:r>
              <a:rPr lang="en-GB" sz="1200" noProof="0" dirty="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11" name="Picture 10" descr="A qr code with a few squares&#10;&#10;AI-generated content may be incorrect.">
            <a:extLst>
              <a:ext uri="{FF2B5EF4-FFF2-40B4-BE49-F238E27FC236}">
                <a16:creationId xmlns:a16="http://schemas.microsoft.com/office/drawing/2014/main" id="{C3B3DD47-DA59-6739-968A-4D534D4058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49560" y="5319002"/>
            <a:ext cx="659095" cy="673473"/>
          </a:xfrm>
          <a:prstGeom prst="rect">
            <a:avLst/>
          </a:prstGeom>
        </p:spPr>
      </p:pic>
    </p:spTree>
    <p:extLst>
      <p:ext uri="{BB962C8B-B14F-4D97-AF65-F5344CB8AC3E}">
        <p14:creationId xmlns:p14="http://schemas.microsoft.com/office/powerpoint/2010/main" val="659143456"/>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F87258-337B-6D07-B37B-79529DCAF182}"/>
              </a:ext>
            </a:extLst>
          </p:cNvPr>
          <p:cNvGraphicFramePr>
            <a:graphicFrameLocks noChangeAspect="1"/>
          </p:cNvGraphicFramePr>
          <p:nvPr>
            <p:custDataLst>
              <p:tags r:id="rId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3" name="think-cell data - do not delete" hidden="1">
                        <a:extLst>
                          <a:ext uri="{FF2B5EF4-FFF2-40B4-BE49-F238E27FC236}">
                            <a16:creationId xmlns:a16="http://schemas.microsoft.com/office/drawing/2014/main" id="{17F87258-337B-6D07-B37B-79529DCAF182}"/>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94F599C-0916-446D-96D5-61E1E0163AB0}"/>
              </a:ext>
            </a:extLst>
          </p:cNvPr>
          <p:cNvSpPr>
            <a:spLocks noGrp="1"/>
          </p:cNvSpPr>
          <p:nvPr>
            <p:ph type="title"/>
          </p:nvPr>
        </p:nvSpPr>
        <p:spPr>
          <a:xfrm>
            <a:off x="648000" y="646884"/>
            <a:ext cx="10896600" cy="369332"/>
          </a:xfrm>
        </p:spPr>
        <p:txBody>
          <a:bodyPr vert="horz">
            <a:spAutoFit/>
          </a:bodyPr>
          <a:lstStyle/>
          <a:p>
            <a:r>
              <a:rPr lang="en-CA" sz="2400"/>
              <a:t>Box Warning</a:t>
            </a:r>
            <a:endParaRPr lang="en-US" sz="2400"/>
          </a:p>
        </p:txBody>
      </p:sp>
      <p:sp>
        <p:nvSpPr>
          <p:cNvPr id="5" name="Text Placeholder 4">
            <a:extLst>
              <a:ext uri="{FF2B5EF4-FFF2-40B4-BE49-F238E27FC236}">
                <a16:creationId xmlns:a16="http://schemas.microsoft.com/office/drawing/2014/main" id="{FBC7F465-B516-4DB9-8ACA-2E0A51AA668E}"/>
              </a:ext>
            </a:extLst>
          </p:cNvPr>
          <p:cNvSpPr>
            <a:spLocks noGrp="1"/>
          </p:cNvSpPr>
          <p:nvPr>
            <p:ph type="body" sz="quarter" idx="13"/>
          </p:nvPr>
        </p:nvSpPr>
        <p:spPr>
          <a:xfrm>
            <a:off x="647998" y="6152125"/>
            <a:ext cx="9994601" cy="324000"/>
          </a:xfrm>
        </p:spPr>
        <p:txBody>
          <a:bodyPr/>
          <a:lstStyle/>
          <a:p>
            <a:pPr marL="0" indent="0">
              <a:buNone/>
            </a:pPr>
            <a:r>
              <a:rPr lang="en-CA"/>
              <a:t>Wegovy</a:t>
            </a:r>
            <a:r>
              <a:rPr lang="en-CA" baseline="30000"/>
              <a:t>®</a:t>
            </a:r>
            <a:r>
              <a:rPr lang="en-CA"/>
              <a:t> [package insert]. Novo Nordisk Inc.</a:t>
            </a:r>
          </a:p>
        </p:txBody>
      </p:sp>
      <p:sp>
        <p:nvSpPr>
          <p:cNvPr id="7" name="Rectangle 6">
            <a:extLst>
              <a:ext uri="{FF2B5EF4-FFF2-40B4-BE49-F238E27FC236}">
                <a16:creationId xmlns:a16="http://schemas.microsoft.com/office/drawing/2014/main" id="{6C520222-65C7-4DEF-A0FE-496E16B135AD}"/>
              </a:ext>
            </a:extLst>
          </p:cNvPr>
          <p:cNvSpPr/>
          <p:nvPr/>
        </p:nvSpPr>
        <p:spPr>
          <a:xfrm>
            <a:off x="647700" y="1016216"/>
            <a:ext cx="10896600" cy="4543425"/>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marL="342900" indent="-342900">
              <a:spcAft>
                <a:spcPts val="600"/>
              </a:spcAft>
              <a:buFont typeface="Arial" panose="020B0604020202020204" pitchFamily="34" charset="0"/>
              <a:buChar char="•"/>
            </a:pPr>
            <a:endParaRPr lang="en-US" sz="2000" b="0" i="0">
              <a:solidFill>
                <a:schemeClr val="tx2"/>
              </a:solidFill>
              <a:effectLst/>
            </a:endParaRPr>
          </a:p>
        </p:txBody>
      </p:sp>
      <p:pic>
        <p:nvPicPr>
          <p:cNvPr id="8" name="Picture 7">
            <a:extLst>
              <a:ext uri="{FF2B5EF4-FFF2-40B4-BE49-F238E27FC236}">
                <a16:creationId xmlns:a16="http://schemas.microsoft.com/office/drawing/2014/main" id="{BB5E1B84-3C7D-21E8-FE4E-FA0AD31E4CA2}"/>
              </a:ext>
            </a:extLst>
          </p:cNvPr>
          <p:cNvPicPr>
            <a:picLocks noChangeAspect="1"/>
          </p:cNvPicPr>
          <p:nvPr/>
        </p:nvPicPr>
        <p:blipFill>
          <a:blip r:embed="rId10"/>
          <a:stretch>
            <a:fillRect/>
          </a:stretch>
        </p:blipFill>
        <p:spPr>
          <a:xfrm>
            <a:off x="931316" y="1385548"/>
            <a:ext cx="10329368" cy="3779647"/>
          </a:xfrm>
          <a:prstGeom prst="rect">
            <a:avLst/>
          </a:prstGeom>
        </p:spPr>
      </p:pic>
      <p:sp>
        <p:nvSpPr>
          <p:cNvPr id="2" name="Rectangle 1">
            <a:extLst>
              <a:ext uri="{FF2B5EF4-FFF2-40B4-BE49-F238E27FC236}">
                <a16:creationId xmlns:a16="http://schemas.microsoft.com/office/drawing/2014/main" id="{956337E1-5A66-F07E-9614-97F8E6AEB505}"/>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dirty="0">
                <a:latin typeface="Apis For Office"/>
                <a:ea typeface="Apis For Office"/>
                <a:cs typeface="Apis For Office"/>
                <a:sym typeface="Apis For Office" panose="020B0504010101010104" pitchFamily="34" charset="0"/>
              </a:rPr>
              <a:t>A copy of the current FDA label for Semaglutide 2.4mg injection can be obtained by typing </a:t>
            </a:r>
            <a:r>
              <a:rPr lang="en-GB" sz="1200" dirty="0">
                <a:latin typeface="Apis For Office"/>
                <a:ea typeface="Apis For Office"/>
                <a:cs typeface="Apis For Office"/>
                <a:sym typeface="Apis For Office" panose="020B0504010101010104" pitchFamily="34" charset="0"/>
              </a:rPr>
              <a:t>in </a:t>
            </a:r>
            <a:r>
              <a:rPr lang="en-GB" sz="1100" dirty="0">
                <a:solidFill>
                  <a:srgbClr val="0000EE"/>
                </a:solidFill>
                <a:highlight>
                  <a:srgbClr val="FFFFFF"/>
                </a:highlight>
                <a:latin typeface="Segoe UI"/>
                <a:ea typeface="Apis For Office"/>
                <a:cs typeface="Segoe UI"/>
                <a:sym typeface="Apis For Office" panose="020B0504010101010104" pitchFamily="34" charset="0"/>
                <a:hlinkClick r:id="rId11"/>
              </a:rPr>
              <a:t>https://www.novo-pi.com/wegovy.pdf</a:t>
            </a:r>
            <a:r>
              <a:rPr lang="en-GB" sz="1200" dirty="0">
                <a:latin typeface="Apis For Office"/>
                <a:ea typeface="Apis For Office"/>
                <a:cs typeface="Apis For Office"/>
                <a:sym typeface="Apis For Office" panose="020B0504010101010104" pitchFamily="34" charset="0"/>
              </a:rPr>
              <a:t> </a:t>
            </a:r>
            <a:r>
              <a:rPr lang="en-GB" sz="1200" dirty="0">
                <a:solidFill>
                  <a:schemeClr val="bg1"/>
                </a:solidFill>
                <a:latin typeface="Apis For Office"/>
                <a:ea typeface="Apis For Office"/>
                <a:cs typeface="Apis For Office"/>
                <a:sym typeface="Apis For Office" panose="020B0504010101010104" pitchFamily="34" charset="0"/>
              </a:rPr>
              <a:t>in</a:t>
            </a:r>
            <a:r>
              <a:rPr lang="en-GB" sz="1200" noProof="0" dirty="0">
                <a:solidFill>
                  <a:schemeClr val="bg1"/>
                </a:solidFill>
                <a:latin typeface="Apis For Office"/>
                <a:ea typeface="Apis For Office"/>
                <a:cs typeface="Apis For Office"/>
                <a:sym typeface="Apis For Office" panose="020B0504010101010104" pitchFamily="34" charset="0"/>
              </a:rPr>
              <a:t>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12" name="Picture 11" descr="A qr code with a few squares&#10;&#10;AI-generated content may be incorrect.">
            <a:extLst>
              <a:ext uri="{FF2B5EF4-FFF2-40B4-BE49-F238E27FC236}">
                <a16:creationId xmlns:a16="http://schemas.microsoft.com/office/drawing/2014/main" id="{C744A867-EF0B-EC05-5E38-55E4D4C54A4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49560" y="5319002"/>
            <a:ext cx="659095" cy="673473"/>
          </a:xfrm>
          <a:prstGeom prst="rect">
            <a:avLst/>
          </a:prstGeom>
        </p:spPr>
      </p:pic>
    </p:spTree>
    <p:custDataLst>
      <p:custData r:id="rId1"/>
      <p:custData r:id="rId2"/>
      <p:tags r:id="rId3"/>
    </p:custDataLst>
    <p:extLst>
      <p:ext uri="{BB962C8B-B14F-4D97-AF65-F5344CB8AC3E}">
        <p14:creationId xmlns:p14="http://schemas.microsoft.com/office/powerpoint/2010/main" val="523503820"/>
      </p:ext>
    </p:extLst>
  </p:cSld>
  <p:clrMapOvr>
    <a:masterClrMapping/>
  </p:clrMapOvr>
  <p:extLst>
    <p:ext uri="{6950BFC3-D8DA-4A85-94F7-54DA5524770B}">
      <p188:commentRel xmlns:p188="http://schemas.microsoft.com/office/powerpoint/2018/8/main" r:id="rId7"/>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3823B-FF93-1839-1CE8-2D9CDD8823A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45F3B5-9268-4A36-FF47-D8A4232C402D}"/>
              </a:ext>
            </a:extLst>
          </p:cNvPr>
          <p:cNvGraphicFramePr>
            <a:graphicFrameLocks noChangeAspect="1"/>
          </p:cNvGraphicFramePr>
          <p:nvPr>
            <p:custDataLst>
              <p:tags r:id="rId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think-cell data - do not delete" hidden="1">
                        <a:extLst>
                          <a:ext uri="{FF2B5EF4-FFF2-40B4-BE49-F238E27FC236}">
                            <a16:creationId xmlns:a16="http://schemas.microsoft.com/office/drawing/2014/main" id="{D845F3B5-9268-4A36-FF47-D8A4232C402D}"/>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6ADF22-563A-39F9-518C-C8CCD88C949A}"/>
              </a:ext>
            </a:extLst>
          </p:cNvPr>
          <p:cNvSpPr>
            <a:spLocks noGrp="1"/>
          </p:cNvSpPr>
          <p:nvPr>
            <p:ph type="title"/>
          </p:nvPr>
        </p:nvSpPr>
        <p:spPr>
          <a:xfrm>
            <a:off x="647700" y="168203"/>
            <a:ext cx="10896600" cy="615553"/>
          </a:xfrm>
        </p:spPr>
        <p:txBody>
          <a:bodyPr vert="horz">
            <a:spAutoFit/>
          </a:bodyPr>
          <a:lstStyle/>
          <a:p>
            <a:r>
              <a:rPr lang="en-CA" sz="2400"/>
              <a:t>Indications and Usage</a:t>
            </a:r>
            <a:br>
              <a:rPr lang="en-CA"/>
            </a:br>
            <a:r>
              <a:rPr lang="en-CA" sz="1600">
                <a:solidFill>
                  <a:schemeClr val="accent5"/>
                </a:solidFill>
              </a:rPr>
              <a:t>Section 1</a:t>
            </a:r>
            <a:endParaRPr lang="en-US">
              <a:solidFill>
                <a:schemeClr val="accent5"/>
              </a:solidFill>
            </a:endParaRPr>
          </a:p>
        </p:txBody>
      </p:sp>
      <p:sp>
        <p:nvSpPr>
          <p:cNvPr id="8" name="Text Placeholder 7">
            <a:extLst>
              <a:ext uri="{FF2B5EF4-FFF2-40B4-BE49-F238E27FC236}">
                <a16:creationId xmlns:a16="http://schemas.microsoft.com/office/drawing/2014/main" id="{630036CB-3DDD-BAC8-2A0C-CBE03349CFB6}"/>
              </a:ext>
            </a:extLst>
          </p:cNvPr>
          <p:cNvSpPr>
            <a:spLocks noGrp="1"/>
          </p:cNvSpPr>
          <p:nvPr>
            <p:ph type="body" sz="quarter" idx="13"/>
          </p:nvPr>
        </p:nvSpPr>
        <p:spPr>
          <a:xfrm>
            <a:off x="647700" y="6365797"/>
            <a:ext cx="9994601" cy="324000"/>
          </a:xfrm>
        </p:spPr>
        <p:txBody>
          <a:bodyPr/>
          <a:lstStyle/>
          <a:p>
            <a:pPr marL="0" indent="0">
              <a:buNone/>
            </a:pPr>
            <a:r>
              <a:rPr lang="en-CA"/>
              <a:t>Abbreviations: F, fibrosis; MASH, metabolic dysfunction-associated steatohepatitis.</a:t>
            </a:r>
            <a:br>
              <a:rPr lang="en-CA"/>
            </a:br>
            <a:r>
              <a:rPr lang="en-CA" err="1"/>
              <a:t>Wegovy</a:t>
            </a:r>
            <a:r>
              <a:rPr lang="en-CA" baseline="30000"/>
              <a:t>®</a:t>
            </a:r>
            <a:r>
              <a:rPr lang="en-CA"/>
              <a:t> [package insert]. Novo Nordisk Inc.</a:t>
            </a:r>
          </a:p>
        </p:txBody>
      </p:sp>
      <p:sp>
        <p:nvSpPr>
          <p:cNvPr id="10" name="Rectangle 9">
            <a:extLst>
              <a:ext uri="{FF2B5EF4-FFF2-40B4-BE49-F238E27FC236}">
                <a16:creationId xmlns:a16="http://schemas.microsoft.com/office/drawing/2014/main" id="{880A0F10-3E2D-1106-7BB5-AA9022446113}"/>
              </a:ext>
            </a:extLst>
          </p:cNvPr>
          <p:cNvSpPr/>
          <p:nvPr/>
        </p:nvSpPr>
        <p:spPr>
          <a:xfrm>
            <a:off x="647700" y="954314"/>
            <a:ext cx="10896600" cy="4634155"/>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sz="2000" b="1" i="0">
                <a:solidFill>
                  <a:schemeClr val="tx2"/>
                </a:solidFill>
                <a:effectLst/>
              </a:rPr>
              <a:t>Indication</a:t>
            </a:r>
          </a:p>
          <a:p>
            <a:pPr marL="0" marR="0" lvl="0" indent="0" algn="l"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WEGOVY injection is indicated in combination with a reduced calorie diet and increased physical activity: </a:t>
            </a:r>
          </a:p>
          <a:p>
            <a:pPr marL="285750" marR="0" lvl="0"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1965"/>
                </a:solidFill>
                <a:latin typeface="Apis For Office"/>
              </a:rPr>
              <a:t>T</a:t>
            </a:r>
            <a:r>
              <a:rPr kumimoji="0" lang="en-US" sz="1400" b="0" i="0" u="none" strike="noStrike" kern="1200" cap="none" spc="0" normalizeH="0" baseline="0" noProof="0">
                <a:ln>
                  <a:noFill/>
                </a:ln>
                <a:solidFill>
                  <a:srgbClr val="001965"/>
                </a:solidFill>
                <a:effectLst/>
                <a:uLnTx/>
                <a:uFillTx/>
                <a:latin typeface="Apis For Office"/>
                <a:ea typeface="+mn-ea"/>
                <a:cs typeface="+mn-cs"/>
              </a:rPr>
              <a:t>o reduce the risk of major adverse cardiovascular (CV) events (CV death, non-fatal myocardial infarction, or non-fatal stroke) in adults with established </a:t>
            </a:r>
            <a:r>
              <a:rPr lang="en-US" sz="1400">
                <a:solidFill>
                  <a:srgbClr val="001965"/>
                </a:solidFill>
                <a:latin typeface="Apis For Office"/>
              </a:rPr>
              <a:t>CV</a:t>
            </a:r>
            <a:r>
              <a:rPr kumimoji="0" lang="en-US" sz="1400" b="0" i="0" u="none" strike="noStrike" kern="1200" cap="none" spc="0" normalizeH="0" baseline="0" noProof="0">
                <a:ln>
                  <a:noFill/>
                </a:ln>
                <a:solidFill>
                  <a:srgbClr val="001965"/>
                </a:solidFill>
                <a:effectLst/>
                <a:uLnTx/>
                <a:uFillTx/>
                <a:latin typeface="Apis For Office"/>
                <a:ea typeface="+mn-ea"/>
                <a:cs typeface="+mn-cs"/>
              </a:rPr>
              <a:t> disease and either obesity or overweight.</a:t>
            </a:r>
          </a:p>
          <a:p>
            <a:pPr marL="285750" marR="0" lvl="0"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001965"/>
                </a:solidFill>
                <a:latin typeface="Apis For Office"/>
              </a:rPr>
              <a:t>T</a:t>
            </a:r>
            <a:r>
              <a:rPr kumimoji="0" lang="en-US" sz="1400" b="0" i="0" u="none" strike="noStrike" kern="1200" cap="none" spc="0" normalizeH="0" baseline="0" noProof="0">
                <a:ln>
                  <a:noFill/>
                </a:ln>
                <a:solidFill>
                  <a:srgbClr val="001965"/>
                </a:solidFill>
                <a:effectLst/>
                <a:uLnTx/>
                <a:uFillTx/>
                <a:latin typeface="Apis For Office"/>
                <a:ea typeface="+mn-ea"/>
                <a:cs typeface="+mn-cs"/>
              </a:rPr>
              <a:t>o reduce excess body weight and maintain weight reduction long term in: </a:t>
            </a:r>
          </a:p>
          <a:p>
            <a:pPr marL="742939" marR="0" lvl="1"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Adults and pediatric patients aged 12 years and older with obesity.</a:t>
            </a:r>
          </a:p>
          <a:p>
            <a:pPr marL="742939" marR="0" lvl="1"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1965"/>
                </a:solidFill>
                <a:effectLst/>
                <a:uLnTx/>
                <a:uFillTx/>
                <a:latin typeface="Apis For Office"/>
                <a:ea typeface="+mn-ea"/>
                <a:cs typeface="+mn-cs"/>
              </a:rPr>
              <a:t>Adults with overweight in the presence of at least one weight-related comorbid condition.</a:t>
            </a:r>
          </a:p>
          <a:p>
            <a:pPr marL="285750" indent="-285750">
              <a:spcAft>
                <a:spcPts val="600"/>
              </a:spcAft>
              <a:buFont typeface="Arial" panose="020B0604020202020204" pitchFamily="34" charset="0"/>
              <a:buChar char="•"/>
              <a:defRPr/>
            </a:pPr>
            <a:r>
              <a:rPr lang="en-US" sz="1400">
                <a:solidFill>
                  <a:srgbClr val="001965"/>
                </a:solidFill>
                <a:latin typeface="Apis For Office"/>
              </a:rPr>
              <a:t>For the treatment of noncirrhotic metabolic dysfunction-associated steatohepatitis (MASH), formerly known as nonalcoholic steatohepatitis (NASH), with moderate to advanced liver fibrosis (consistent with stage F2-F3 fibrosis). This indication is approved under accelerated approval based on improvement of MASH and fibrosis [see Clinical Studies (14.4)]. Continued approval for this indication may be contingent upon the verification and description of clinical benefit in confirmatory trials.</a:t>
            </a:r>
          </a:p>
          <a:p>
            <a:pPr>
              <a:spcAft>
                <a:spcPts val="600"/>
              </a:spcAft>
              <a:defRPr/>
            </a:pPr>
            <a:r>
              <a:rPr kumimoji="0" lang="en-GB" sz="1400" b="0" i="0" u="none" strike="noStrike" kern="1200" cap="none" spc="0" normalizeH="0" baseline="0" noProof="0">
                <a:ln>
                  <a:noFill/>
                </a:ln>
                <a:solidFill>
                  <a:srgbClr val="001965"/>
                </a:solidFill>
                <a:effectLst/>
                <a:uLnTx/>
                <a:uFillTx/>
                <a:latin typeface="Apis For Office"/>
                <a:ea typeface="+mn-ea"/>
                <a:cs typeface="+mn-cs"/>
              </a:rPr>
              <a:t>WEGOVY tablets are indicated in combination with a reduced calorie diet and increased physical activity: </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srgbClr val="001965"/>
                </a:solidFill>
                <a:effectLst/>
                <a:uLnTx/>
                <a:uFillTx/>
                <a:latin typeface="Apis For Office"/>
                <a:ea typeface="+mn-ea"/>
                <a:cs typeface="+mn-cs"/>
              </a:rPr>
              <a:t>To reduce the risk of major adverse CV events (CV death, non-fatal myocardial infarction, or non-fatal stroke) in adults with established CV disease and either obesity or overweight.</a:t>
            </a:r>
            <a:endParaRPr lang="en-GB" sz="1400">
              <a:solidFill>
                <a:srgbClr val="001965"/>
              </a:solidFill>
              <a:latin typeface="Apis For Office"/>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srgbClr val="001965"/>
                </a:solidFill>
                <a:effectLst/>
                <a:uLnTx/>
                <a:uFillTx/>
                <a:latin typeface="Apis For Office"/>
                <a:ea typeface="+mn-ea"/>
                <a:cs typeface="+mn-cs"/>
              </a:rPr>
              <a:t>To reduce excess body weight and maintain weight reduction long term in adults with obesity, or in adults with overweight in</a:t>
            </a:r>
            <a:r>
              <a:rPr lang="en-GB" sz="1400">
                <a:solidFill>
                  <a:srgbClr val="001965"/>
                </a:solidFill>
                <a:latin typeface="Apis For Office"/>
              </a:rPr>
              <a:t> </a:t>
            </a:r>
            <a:r>
              <a:rPr kumimoji="0" lang="en-GB" sz="1400" b="0" i="0" u="none" strike="noStrike" kern="1200" cap="none" spc="0" normalizeH="0" baseline="0" noProof="0">
                <a:ln>
                  <a:noFill/>
                </a:ln>
                <a:solidFill>
                  <a:srgbClr val="001965"/>
                </a:solidFill>
                <a:effectLst/>
                <a:uLnTx/>
                <a:uFillTx/>
                <a:latin typeface="Apis For Office"/>
                <a:ea typeface="+mn-ea"/>
                <a:cs typeface="+mn-cs"/>
              </a:rPr>
              <a:t>the presence of at least one weight-related comorbid condition.</a:t>
            </a:r>
            <a:endParaRPr kumimoji="0" lang="en-US" sz="1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6" name="Rectangle 5">
            <a:extLst>
              <a:ext uri="{FF2B5EF4-FFF2-40B4-BE49-F238E27FC236}">
                <a16:creationId xmlns:a16="http://schemas.microsoft.com/office/drawing/2014/main" id="{9C9205F2-CAE6-86BA-54A8-E7EC73B5DDE0}"/>
              </a:ext>
            </a:extLst>
          </p:cNvPr>
          <p:cNvSpPr/>
          <p:nvPr/>
        </p:nvSpPr>
        <p:spPr>
          <a:xfrm>
            <a:off x="647700" y="5708316"/>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a:t>
            </a:r>
            <a:r>
              <a:rPr lang="en-GB" sz="1200">
                <a:latin typeface="Apis For Office"/>
                <a:ea typeface="Apis For Office"/>
                <a:cs typeface="Apis For Office"/>
                <a:sym typeface="Apis For Office" panose="020B0504010101010104" pitchFamily="34" charset="0"/>
              </a:rPr>
              <a:t>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10"/>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3" name="Picture 2" descr="A qr code with a few squares&#10;&#10;AI-generated content may be incorrect.">
            <a:extLst>
              <a:ext uri="{FF2B5EF4-FFF2-40B4-BE49-F238E27FC236}">
                <a16:creationId xmlns:a16="http://schemas.microsoft.com/office/drawing/2014/main" id="{750B80F5-0C64-77B5-66D2-E6B83F5E377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35183" y="5721569"/>
            <a:ext cx="659095" cy="673473"/>
          </a:xfrm>
          <a:prstGeom prst="rect">
            <a:avLst/>
          </a:prstGeom>
        </p:spPr>
      </p:pic>
    </p:spTree>
    <p:custDataLst>
      <p:custData r:id="rId1"/>
      <p:custData r:id="rId2"/>
      <p:tags r:id="rId3"/>
    </p:custDataLst>
    <p:extLst>
      <p:ext uri="{BB962C8B-B14F-4D97-AF65-F5344CB8AC3E}">
        <p14:creationId xmlns:p14="http://schemas.microsoft.com/office/powerpoint/2010/main" val="840108804"/>
      </p:ext>
    </p:extLst>
  </p:cSld>
  <p:clrMapOvr>
    <a:masterClrMapping/>
  </p:clrMapOvr>
  <p:extLst>
    <p:ext uri="{6950BFC3-D8DA-4A85-94F7-54DA5524770B}">
      <p188:commentRel xmlns:p188="http://schemas.microsoft.com/office/powerpoint/2018/8/main" r:id="rId7"/>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1216B-A729-D644-E073-F0746C0EB7E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55408E-DC3C-7761-6E45-B06F9A97B84F}"/>
              </a:ext>
            </a:extLst>
          </p:cNvPr>
          <p:cNvGraphicFramePr>
            <a:graphicFrameLocks noChangeAspect="1"/>
          </p:cNvGraphicFramePr>
          <p:nvPr>
            <p:custDataLst>
              <p:tags r:id="rId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think-cell data - do not delete" hidden="1">
                        <a:extLst>
                          <a:ext uri="{FF2B5EF4-FFF2-40B4-BE49-F238E27FC236}">
                            <a16:creationId xmlns:a16="http://schemas.microsoft.com/office/drawing/2014/main" id="{0355408E-DC3C-7761-6E45-B06F9A97B84F}"/>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FD9E57-7D84-977F-8564-4FCAA0F4FE81}"/>
              </a:ext>
            </a:extLst>
          </p:cNvPr>
          <p:cNvSpPr>
            <a:spLocks noGrp="1"/>
          </p:cNvSpPr>
          <p:nvPr>
            <p:ph type="title"/>
          </p:nvPr>
        </p:nvSpPr>
        <p:spPr>
          <a:xfrm>
            <a:off x="648000" y="652006"/>
            <a:ext cx="10896600" cy="615553"/>
          </a:xfrm>
        </p:spPr>
        <p:txBody>
          <a:bodyPr vert="horz">
            <a:spAutoFit/>
          </a:bodyPr>
          <a:lstStyle/>
          <a:p>
            <a:r>
              <a:rPr lang="en-CA" sz="2400"/>
              <a:t>Indications and Usage</a:t>
            </a:r>
            <a:br>
              <a:rPr lang="en-CA" sz="2400"/>
            </a:br>
            <a:r>
              <a:rPr lang="en-CA" sz="1600">
                <a:solidFill>
                  <a:schemeClr val="accent5"/>
                </a:solidFill>
              </a:rPr>
              <a:t>Section 1</a:t>
            </a:r>
            <a:endParaRPr lang="en-US">
              <a:solidFill>
                <a:schemeClr val="accent5"/>
              </a:solidFill>
            </a:endParaRPr>
          </a:p>
        </p:txBody>
      </p:sp>
      <p:sp>
        <p:nvSpPr>
          <p:cNvPr id="8" name="Text Placeholder 7">
            <a:extLst>
              <a:ext uri="{FF2B5EF4-FFF2-40B4-BE49-F238E27FC236}">
                <a16:creationId xmlns:a16="http://schemas.microsoft.com/office/drawing/2014/main" id="{2761A8C2-DE36-A2BF-7367-0F5AE36F26EB}"/>
              </a:ext>
            </a:extLst>
          </p:cNvPr>
          <p:cNvSpPr>
            <a:spLocks noGrp="1"/>
          </p:cNvSpPr>
          <p:nvPr>
            <p:ph type="body" sz="quarter" idx="13"/>
          </p:nvPr>
        </p:nvSpPr>
        <p:spPr>
          <a:xfrm>
            <a:off x="647998" y="6149840"/>
            <a:ext cx="9994601" cy="324000"/>
          </a:xfrm>
        </p:spPr>
        <p:txBody>
          <a:bodyPr/>
          <a:lstStyle/>
          <a:p>
            <a:pPr marL="0" indent="0">
              <a:buNone/>
            </a:pPr>
            <a:r>
              <a:rPr lang="en-CA"/>
              <a:t>Abbreviations: GLP-1, glucagon-like peptide-1.</a:t>
            </a:r>
            <a:br>
              <a:rPr lang="en-CA"/>
            </a:br>
            <a:r>
              <a:rPr lang="en-CA"/>
              <a:t>Wegovy</a:t>
            </a:r>
            <a:r>
              <a:rPr lang="en-CA" baseline="30000"/>
              <a:t>®</a:t>
            </a:r>
            <a:r>
              <a:rPr lang="en-CA"/>
              <a:t> [package insert]. Novo Nordisk Inc.</a:t>
            </a:r>
          </a:p>
        </p:txBody>
      </p:sp>
      <p:sp>
        <p:nvSpPr>
          <p:cNvPr id="2" name="Rectangle 1">
            <a:extLst>
              <a:ext uri="{FF2B5EF4-FFF2-40B4-BE49-F238E27FC236}">
                <a16:creationId xmlns:a16="http://schemas.microsoft.com/office/drawing/2014/main" id="{BA540799-C936-B9B3-9B54-58C8EE036BF1}"/>
              </a:ext>
            </a:extLst>
          </p:cNvPr>
          <p:cNvSpPr/>
          <p:nvPr/>
        </p:nvSpPr>
        <p:spPr>
          <a:xfrm>
            <a:off x="648000" y="1715867"/>
            <a:ext cx="10896600" cy="1276125"/>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spcAft>
                <a:spcPts val="600"/>
              </a:spcAft>
            </a:pPr>
            <a:r>
              <a:rPr lang="en-US" b="1" i="0">
                <a:solidFill>
                  <a:schemeClr val="tx2"/>
                </a:solidFill>
                <a:effectLst/>
              </a:rPr>
              <a:t>Limitations of use</a:t>
            </a:r>
          </a:p>
          <a:p>
            <a:pPr>
              <a:spcAft>
                <a:spcPts val="600"/>
              </a:spcAft>
            </a:pPr>
            <a:r>
              <a:rPr lang="en-GB" i="0">
                <a:solidFill>
                  <a:srgbClr val="001965"/>
                </a:solidFill>
                <a:effectLst/>
              </a:rPr>
              <a:t>Concomitant use of WEGOVY (semaglutide) tablets or WEGOVY (semaglutide) injection </a:t>
            </a:r>
            <a:r>
              <a:rPr lang="en-US" i="0">
                <a:solidFill>
                  <a:srgbClr val="001965"/>
                </a:solidFill>
                <a:effectLst/>
              </a:rPr>
              <a:t>with other semaglutide-containing products or with any other GLP-1 receptor agonist is not recommended.</a:t>
            </a:r>
          </a:p>
        </p:txBody>
      </p:sp>
      <p:pic>
        <p:nvPicPr>
          <p:cNvPr id="6" name="Picture 5">
            <a:extLst>
              <a:ext uri="{FF2B5EF4-FFF2-40B4-BE49-F238E27FC236}">
                <a16:creationId xmlns:a16="http://schemas.microsoft.com/office/drawing/2014/main" id="{ED17155C-AEC5-8CAD-03BD-168F06A06119}"/>
              </a:ext>
            </a:extLst>
          </p:cNvPr>
          <p:cNvPicPr>
            <a:picLocks noChangeAspect="1"/>
          </p:cNvPicPr>
          <p:nvPr/>
        </p:nvPicPr>
        <p:blipFill>
          <a:blip r:embed="rId10"/>
          <a:stretch>
            <a:fillRect/>
          </a:stretch>
        </p:blipFill>
        <p:spPr>
          <a:xfrm>
            <a:off x="10766940" y="5400546"/>
            <a:ext cx="497936" cy="497936"/>
          </a:xfrm>
          <a:prstGeom prst="rect">
            <a:avLst/>
          </a:prstGeom>
        </p:spPr>
      </p:pic>
      <p:sp>
        <p:nvSpPr>
          <p:cNvPr id="7" name="Rectangle 6">
            <a:extLst>
              <a:ext uri="{FF2B5EF4-FFF2-40B4-BE49-F238E27FC236}">
                <a16:creationId xmlns:a16="http://schemas.microsoft.com/office/drawing/2014/main" id="{33F2EB5F-9602-9DA9-1399-258192A7EDA3}"/>
              </a:ext>
            </a:extLst>
          </p:cNvPr>
          <p:cNvSpPr/>
          <p:nvPr/>
        </p:nvSpPr>
        <p:spPr>
          <a:xfrm>
            <a:off x="647998" y="5400546"/>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a:latin typeface="Apis For Office"/>
                <a:ea typeface="Apis For Office"/>
                <a:cs typeface="Apis For Office"/>
                <a:sym typeface="Apis For Office" panose="020B0504010101010104" pitchFamily="34" charset="0"/>
              </a:rPr>
              <a:t>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11"/>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10" name="Picture 9" descr="A qr code with a few squares&#10;&#10;AI-generated content may be incorrect.">
            <a:extLst>
              <a:ext uri="{FF2B5EF4-FFF2-40B4-BE49-F238E27FC236}">
                <a16:creationId xmlns:a16="http://schemas.microsoft.com/office/drawing/2014/main" id="{86359785-6A6B-93DC-2466-4D45953BACD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35183" y="5390889"/>
            <a:ext cx="659095" cy="673473"/>
          </a:xfrm>
          <a:prstGeom prst="rect">
            <a:avLst/>
          </a:prstGeom>
        </p:spPr>
      </p:pic>
    </p:spTree>
    <p:custDataLst>
      <p:custData r:id="rId1"/>
      <p:custData r:id="rId2"/>
      <p:tags r:id="rId3"/>
    </p:custDataLst>
    <p:extLst>
      <p:ext uri="{BB962C8B-B14F-4D97-AF65-F5344CB8AC3E}">
        <p14:creationId xmlns:p14="http://schemas.microsoft.com/office/powerpoint/2010/main" val="3191344113"/>
      </p:ext>
    </p:extLst>
  </p:cSld>
  <p:clrMapOvr>
    <a:masterClrMapping/>
  </p:clrMapOvr>
  <p:extLst>
    <p:ext uri="{6950BFC3-D8DA-4A85-94F7-54DA5524770B}">
      <p188:commentRel xmlns:p188="http://schemas.microsoft.com/office/powerpoint/2018/8/main" r:id="rId7"/>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2CCCC-48D1-3B80-B72B-F856ABBB1C3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E68A694-2359-B479-4501-FB3DCBBF680D}"/>
              </a:ext>
            </a:extLst>
          </p:cNvPr>
          <p:cNvSpPr>
            <a:spLocks noGrp="1"/>
          </p:cNvSpPr>
          <p:nvPr>
            <p:ph type="title"/>
          </p:nvPr>
        </p:nvSpPr>
        <p:spPr/>
        <p:txBody>
          <a:bodyPr/>
          <a:lstStyle/>
          <a:p>
            <a:r>
              <a:rPr lang="en-CA" sz="2400"/>
              <a:t>Contraindications</a:t>
            </a:r>
            <a:br>
              <a:rPr lang="en-CA"/>
            </a:br>
            <a:r>
              <a:rPr lang="en-CA" sz="1800">
                <a:solidFill>
                  <a:schemeClr val="accent5"/>
                </a:solidFill>
              </a:rPr>
              <a:t>Section 4</a:t>
            </a:r>
            <a:endParaRPr lang="en-CA"/>
          </a:p>
        </p:txBody>
      </p:sp>
      <p:sp>
        <p:nvSpPr>
          <p:cNvPr id="3" name="Text Placeholder 2">
            <a:extLst>
              <a:ext uri="{FF2B5EF4-FFF2-40B4-BE49-F238E27FC236}">
                <a16:creationId xmlns:a16="http://schemas.microsoft.com/office/drawing/2014/main" id="{4B69DB41-E578-B268-6685-E93CF07C54B8}"/>
              </a:ext>
            </a:extLst>
          </p:cNvPr>
          <p:cNvSpPr>
            <a:spLocks noGrp="1"/>
          </p:cNvSpPr>
          <p:nvPr>
            <p:ph type="body" sz="quarter" idx="13"/>
          </p:nvPr>
        </p:nvSpPr>
        <p:spPr/>
        <p:txBody>
          <a:bodyPr/>
          <a:lstStyle/>
          <a:p>
            <a:r>
              <a:rPr lang="en-CA"/>
              <a:t>MEN 2, multiple endocrine neoplasia syndrome type 2; MTC, medullary thyroid carcinoma.</a:t>
            </a:r>
            <a:br>
              <a:rPr lang="en-CA"/>
            </a:br>
            <a:r>
              <a:rPr lang="en-CA"/>
              <a:t>Wegovy</a:t>
            </a:r>
            <a:r>
              <a:rPr lang="en-CA" baseline="30000"/>
              <a:t>®</a:t>
            </a:r>
            <a:r>
              <a:rPr lang="en-CA"/>
              <a:t> [package insert]. Novo Nordisk Inc.</a:t>
            </a:r>
          </a:p>
        </p:txBody>
      </p:sp>
      <p:sp>
        <p:nvSpPr>
          <p:cNvPr id="5" name="Rectangle 4">
            <a:extLst>
              <a:ext uri="{FF2B5EF4-FFF2-40B4-BE49-F238E27FC236}">
                <a16:creationId xmlns:a16="http://schemas.microsoft.com/office/drawing/2014/main" id="{CE096FDB-3DC9-F38B-059D-0D833A945A20}"/>
              </a:ext>
            </a:extLst>
          </p:cNvPr>
          <p:cNvSpPr/>
          <p:nvPr/>
        </p:nvSpPr>
        <p:spPr>
          <a:xfrm>
            <a:off x="647998" y="1702120"/>
            <a:ext cx="10895998" cy="2202602"/>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nSpc>
                <a:spcPct val="150000"/>
              </a:lnSpc>
              <a:spcBef>
                <a:spcPts val="600"/>
              </a:spcBef>
              <a:spcAft>
                <a:spcPts val="600"/>
              </a:spcAft>
            </a:pPr>
            <a:r>
              <a:rPr kumimoji="0" lang="en-CA" sz="2000" b="1" i="0" u="none" strike="noStrike" kern="1200" cap="none" spc="0" normalizeH="0" baseline="0" noProof="0">
                <a:ln>
                  <a:noFill/>
                </a:ln>
                <a:solidFill>
                  <a:srgbClr val="001965"/>
                </a:solidFill>
                <a:effectLst/>
                <a:uLnTx/>
                <a:uFillTx/>
                <a:latin typeface="Apis For Office"/>
                <a:ea typeface="+mj-ea"/>
                <a:cs typeface="+mj-cs"/>
              </a:rPr>
              <a:t>Contraindications</a:t>
            </a:r>
            <a:br>
              <a:rPr lang="en-US" b="1">
                <a:solidFill>
                  <a:schemeClr val="tx2"/>
                </a:solidFill>
              </a:rPr>
            </a:br>
            <a:r>
              <a:rPr lang="en-US" sz="1600" i="0">
                <a:solidFill>
                  <a:schemeClr val="tx2"/>
                </a:solidFill>
                <a:effectLst/>
              </a:rPr>
              <a:t>WEGOVY is contraindicated in the following conditions:</a:t>
            </a:r>
          </a:p>
          <a:p>
            <a:pPr marL="285750" indent="-285750">
              <a:spcAft>
                <a:spcPts val="600"/>
              </a:spcAft>
              <a:buFont typeface="Arial" panose="020B0604020202020204" pitchFamily="34" charset="0"/>
              <a:buChar char="•"/>
            </a:pPr>
            <a:r>
              <a:rPr lang="en-US" sz="1600" i="0">
                <a:solidFill>
                  <a:schemeClr val="tx2"/>
                </a:solidFill>
                <a:effectLst/>
              </a:rPr>
              <a:t>A personal or family history of MTC or in patients with MEN 2 [see Warnings and Precautions (5.1)].</a:t>
            </a:r>
          </a:p>
          <a:p>
            <a:pPr marL="285750" indent="-285750">
              <a:spcAft>
                <a:spcPts val="600"/>
              </a:spcAft>
              <a:buFont typeface="Arial" panose="020B0604020202020204" pitchFamily="34" charset="0"/>
              <a:buChar char="•"/>
            </a:pPr>
            <a:r>
              <a:rPr lang="en-GB" sz="1600">
                <a:solidFill>
                  <a:schemeClr val="tx2"/>
                </a:solidFill>
              </a:rPr>
              <a:t>Known hypersensitivity to semaglutide or any of the excipients in WEGOVY® tablets or WEGOVY® injection </a:t>
            </a:r>
            <a:r>
              <a:rPr lang="en-US" sz="1600">
                <a:solidFill>
                  <a:schemeClr val="tx2"/>
                </a:solidFill>
              </a:rPr>
              <a:t>[</a:t>
            </a:r>
            <a:r>
              <a:rPr lang="en-US" sz="1600" i="0">
                <a:solidFill>
                  <a:schemeClr val="tx2"/>
                </a:solidFill>
                <a:effectLst/>
              </a:rPr>
              <a:t>see Warnings and Precautions (5.7)].</a:t>
            </a:r>
            <a:endParaRPr lang="en-US" sz="1600" i="0">
              <a:solidFill>
                <a:schemeClr val="tx2"/>
              </a:solidFill>
              <a:effectLst/>
              <a:ea typeface="Apis For Office"/>
              <a:cs typeface="Apis For Office"/>
            </a:endParaRPr>
          </a:p>
        </p:txBody>
      </p:sp>
      <p:sp>
        <p:nvSpPr>
          <p:cNvPr id="2" name="Rectangle 1">
            <a:extLst>
              <a:ext uri="{FF2B5EF4-FFF2-40B4-BE49-F238E27FC236}">
                <a16:creationId xmlns:a16="http://schemas.microsoft.com/office/drawing/2014/main" id="{CA46E249-C774-FDEA-A39B-A3B7ED480C46}"/>
              </a:ext>
            </a:extLst>
          </p:cNvPr>
          <p:cNvSpPr/>
          <p:nvPr/>
        </p:nvSpPr>
        <p:spPr>
          <a:xfrm>
            <a:off x="647998" y="5320774"/>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a:t>
            </a:r>
            <a:r>
              <a:rPr lang="en-GB" sz="1200">
                <a:latin typeface="Apis For Office"/>
                <a:ea typeface="Apis For Office"/>
                <a:cs typeface="Apis For Office"/>
                <a:sym typeface="Apis For Office" panose="020B0504010101010104" pitchFamily="34" charset="0"/>
              </a:rPr>
              <a:t>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3"/>
              </a:rPr>
              <a:t>https://www.novo-pi.com/wegovy.pdf</a:t>
            </a:r>
            <a:r>
              <a:rPr lang="en-GB" sz="1200">
                <a:solidFill>
                  <a:srgbClr val="EAAB00"/>
                </a:solidFill>
                <a:latin typeface="Apis For Office"/>
                <a:ea typeface="Apis For Office"/>
                <a:cs typeface="Apis For Office"/>
                <a:sym typeface="Apis For Office" panose="020B0504010101010104" pitchFamily="34" charset="0"/>
              </a:rPr>
              <a:t> </a:t>
            </a:r>
            <a:r>
              <a:rPr lang="en-GB" sz="1200" noProof="0">
                <a:solidFill>
                  <a:schemeClr val="bg1"/>
                </a:solidFill>
                <a:latin typeface="Apis For Office"/>
                <a:ea typeface="Apis For Office"/>
                <a:cs typeface="Apis For Office"/>
                <a:sym typeface="Apis For Office" panose="020B0504010101010104" pitchFamily="34" charset="0"/>
              </a:rPr>
              <a:t>i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6" name="Picture 5">
            <a:extLst>
              <a:ext uri="{FF2B5EF4-FFF2-40B4-BE49-F238E27FC236}">
                <a16:creationId xmlns:a16="http://schemas.microsoft.com/office/drawing/2014/main" id="{4A8077E3-3639-8879-EEE9-C6E4C503BAE7}"/>
              </a:ext>
            </a:extLst>
          </p:cNvPr>
          <p:cNvPicPr>
            <a:picLocks noChangeAspect="1"/>
          </p:cNvPicPr>
          <p:nvPr/>
        </p:nvPicPr>
        <p:blipFill>
          <a:blip r:embed="rId4"/>
          <a:stretch>
            <a:fillRect/>
          </a:stretch>
        </p:blipFill>
        <p:spPr>
          <a:xfrm>
            <a:off x="10766940" y="5343037"/>
            <a:ext cx="612954" cy="670463"/>
          </a:xfrm>
          <a:prstGeom prst="rect">
            <a:avLst/>
          </a:prstGeom>
        </p:spPr>
      </p:pic>
    </p:spTree>
    <p:extLst>
      <p:ext uri="{BB962C8B-B14F-4D97-AF65-F5344CB8AC3E}">
        <p14:creationId xmlns:p14="http://schemas.microsoft.com/office/powerpoint/2010/main" val="4168731396"/>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7998" y="161864"/>
            <a:ext cx="10896000" cy="1296000"/>
          </a:xfrm>
        </p:spPr>
        <p:txBody>
          <a:bodyPr/>
          <a:lstStyle/>
          <a:p>
            <a:r>
              <a:rPr lang="en-GB" sz="2400"/>
              <a:t>Warnings and Precautions</a:t>
            </a:r>
            <a:br>
              <a:rPr lang="en-GB"/>
            </a:br>
            <a:r>
              <a:rPr lang="en-CA" sz="1600">
                <a:solidFill>
                  <a:srgbClr val="3B97DE"/>
                </a:solidFill>
                <a:latin typeface="Apis For Office"/>
              </a:rPr>
              <a:t>Section 5.1</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7" y="6372136"/>
            <a:ext cx="10895999" cy="324000"/>
          </a:xfrm>
        </p:spPr>
        <p:txBody>
          <a:bodyPr/>
          <a:lstStyle/>
          <a:p>
            <a:pPr marL="0" indent="0">
              <a:buNone/>
            </a:pPr>
            <a:r>
              <a:rPr lang="en-CA"/>
              <a:t>GLP-1, glucagon-like peptide-1; MTC, medullary thyroid carcinoma.</a:t>
            </a:r>
            <a:br>
              <a:rPr lang="en-CA"/>
            </a:br>
            <a:r>
              <a:rPr lang="en-CA" dirty="0" err="1"/>
              <a:t>Wegovy</a:t>
            </a:r>
            <a:r>
              <a:rPr lang="en-CA" baseline="30000"/>
              <a:t>®</a:t>
            </a:r>
            <a:r>
              <a:rPr lang="en-CA"/>
              <a:t> [package insert]. Novo Nordisk Inc.</a:t>
            </a:r>
          </a:p>
        </p:txBody>
      </p:sp>
      <p:sp>
        <p:nvSpPr>
          <p:cNvPr id="6" name="Rectangle 5">
            <a:extLst>
              <a:ext uri="{FF2B5EF4-FFF2-40B4-BE49-F238E27FC236}">
                <a16:creationId xmlns:a16="http://schemas.microsoft.com/office/drawing/2014/main" id="{CF933326-1F3F-4DD6-B310-8D1F8519272C}"/>
              </a:ext>
            </a:extLst>
          </p:cNvPr>
          <p:cNvSpPr/>
          <p:nvPr/>
        </p:nvSpPr>
        <p:spPr>
          <a:xfrm>
            <a:off x="647998" y="1000664"/>
            <a:ext cx="10895998" cy="4266000"/>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2000" b="1" i="0">
                <a:solidFill>
                  <a:schemeClr val="tx2"/>
                </a:solidFill>
                <a:effectLst/>
              </a:rPr>
              <a:t>Risk of Thyroid C-Cell Tumors</a:t>
            </a:r>
          </a:p>
          <a:p>
            <a:endParaRPr lang="en-US" sz="2000" b="1" i="0">
              <a:solidFill>
                <a:schemeClr val="tx2"/>
              </a:solidFill>
              <a:effectLst/>
            </a:endParaRPr>
          </a:p>
          <a:p>
            <a:r>
              <a:rPr lang="en-US">
                <a:solidFill>
                  <a:schemeClr val="tx2"/>
                </a:solidFill>
              </a:rPr>
              <a:t>In mice and rats, semaglutide caused a dose-dependent and treatment-duration-dependent increase in the incidence of thyroid C-cell tumors (adenomas and carcinomas) after lifetime exposure at clinically relevant plasma exposures [see Nonclinical Toxicology (13.1)]. It is unknown whether WEGOVY causes thyroid C-cell tumors, including MTC, in humans, as human relevance of semaglutide-induced rodent thyroid C-cell tumors has not been determined.</a:t>
            </a:r>
          </a:p>
          <a:p>
            <a:pPr algn="l"/>
            <a:endParaRPr lang="en-US">
              <a:solidFill>
                <a:schemeClr val="tx2"/>
              </a:solidFill>
            </a:endParaRPr>
          </a:p>
          <a:p>
            <a:pPr algn="l"/>
            <a:r>
              <a:rPr lang="en-US">
                <a:solidFill>
                  <a:schemeClr val="tx2"/>
                </a:solidFill>
              </a:rPr>
              <a:t>Cases of MTC in patients treated with liraglutide, another GLP-1 receptor agonist, have been reported in the postmarketing period; the data in these reports are insufficient to establish or exclude a causal relationship between MTC and GLP-1 receptor agonist use in humans.</a:t>
            </a:r>
          </a:p>
          <a:p>
            <a:pPr algn="l"/>
            <a:endParaRPr lang="en-US" sz="1600" b="0" i="0" u="none" strike="noStrike" baseline="0">
              <a:solidFill>
                <a:srgbClr val="001965"/>
              </a:solidFill>
              <a:latin typeface="TimesNewRomanPSMT"/>
            </a:endParaRPr>
          </a:p>
        </p:txBody>
      </p:sp>
      <p:sp>
        <p:nvSpPr>
          <p:cNvPr id="4" name="Rectangle 3">
            <a:extLst>
              <a:ext uri="{FF2B5EF4-FFF2-40B4-BE49-F238E27FC236}">
                <a16:creationId xmlns:a16="http://schemas.microsoft.com/office/drawing/2014/main" id="{0A784ABE-3D79-91F6-8AE3-0F9B372D78BC}"/>
              </a:ext>
            </a:extLst>
          </p:cNvPr>
          <p:cNvSpPr/>
          <p:nvPr/>
        </p:nvSpPr>
        <p:spPr>
          <a:xfrm>
            <a:off x="647997" y="5447983"/>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 </a:t>
            </a:r>
            <a:r>
              <a:rPr lang="en-GB" sz="1100">
                <a:solidFill>
                  <a:srgbClr val="0000EE"/>
                </a:solidFill>
                <a:highlight>
                  <a:srgbClr val="FFFFFF"/>
                </a:highlight>
                <a:latin typeface="Segoe UI"/>
                <a:cs typeface="Segoe UI"/>
                <a:hlinkClick r:id="rId5"/>
              </a:rPr>
              <a:t>https://www.novo-pi.com/wegovy.pdf</a:t>
            </a:r>
            <a:r>
              <a:rPr lang="en-CA" sz="1200">
                <a:solidFill>
                  <a:schemeClr val="tx2"/>
                </a:solidFill>
                <a:hlinkClick r:id="rId5">
                  <a:extLst>
                    <a:ext uri="{A12FA001-AC4F-418D-AE19-62706E023703}">
                      <ahyp:hlinkClr xmlns:ahyp="http://schemas.microsoft.com/office/drawing/2018/hyperlinkcolor" val="tx"/>
                    </a:ext>
                  </a:extLst>
                </a:hlinkClick>
              </a:rPr>
              <a:t> </a:t>
            </a:r>
            <a:r>
              <a:rPr lang="en-GB" sz="1200" noProof="0" err="1">
                <a:solidFill>
                  <a:schemeClr val="bg1"/>
                </a:solidFill>
                <a:latin typeface="Apis For Office"/>
                <a:ea typeface="Apis For Office"/>
                <a:cs typeface="Apis For Office"/>
                <a:sym typeface="Apis For Office" panose="020B0504010101010104" pitchFamily="34" charset="0"/>
              </a:rPr>
              <a:t>i</a:t>
            </a:r>
            <a:r>
              <a:rPr lang="en-GB" sz="1200" noProof="0">
                <a:solidFill>
                  <a:schemeClr val="bg1"/>
                </a:solidFill>
                <a:latin typeface="Apis For Office"/>
                <a:ea typeface="Apis For Office"/>
                <a:cs typeface="Apis For Office"/>
                <a:sym typeface="Apis For Office" panose="020B0504010101010104" pitchFamily="34" charset="0"/>
              </a:rPr>
              <a:t>n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5" name="Picture 4">
            <a:extLst>
              <a:ext uri="{FF2B5EF4-FFF2-40B4-BE49-F238E27FC236}">
                <a16:creationId xmlns:a16="http://schemas.microsoft.com/office/drawing/2014/main" id="{122C1A6C-EDFB-EA11-63BB-47BF9B131994}"/>
              </a:ext>
            </a:extLst>
          </p:cNvPr>
          <p:cNvPicPr>
            <a:picLocks noChangeAspect="1"/>
          </p:cNvPicPr>
          <p:nvPr/>
        </p:nvPicPr>
        <p:blipFill>
          <a:blip r:embed="rId6"/>
          <a:stretch>
            <a:fillRect/>
          </a:stretch>
        </p:blipFill>
        <p:spPr>
          <a:xfrm>
            <a:off x="10766940" y="5470247"/>
            <a:ext cx="627332" cy="656086"/>
          </a:xfrm>
          <a:prstGeom prst="rect">
            <a:avLst/>
          </a:prstGeom>
        </p:spPr>
      </p:pic>
    </p:spTree>
    <p:custDataLst>
      <p:tags r:id="rId1"/>
    </p:custDataLst>
    <p:extLst>
      <p:ext uri="{BB962C8B-B14F-4D97-AF65-F5344CB8AC3E}">
        <p14:creationId xmlns:p14="http://schemas.microsoft.com/office/powerpoint/2010/main" val="1491463048"/>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FC0D314-4C83-4136-1EEF-316F3714A9F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2FC0D314-4C83-4136-1EEF-316F3714A9F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0E18E-5311-44CA-B822-84C62E00D315}"/>
              </a:ext>
            </a:extLst>
          </p:cNvPr>
          <p:cNvSpPr>
            <a:spLocks noGrp="1"/>
          </p:cNvSpPr>
          <p:nvPr>
            <p:ph type="title"/>
          </p:nvPr>
        </p:nvSpPr>
        <p:spPr>
          <a:xfrm>
            <a:off x="648000" y="270149"/>
            <a:ext cx="10896600" cy="615553"/>
          </a:xfrm>
        </p:spPr>
        <p:txBody>
          <a:bodyPr vert="horz">
            <a:spAutoFit/>
          </a:bodyPr>
          <a:lstStyle/>
          <a:p>
            <a:r>
              <a:rPr lang="en-GB" sz="2400"/>
              <a:t>Warnings and Precautions</a:t>
            </a:r>
            <a:br>
              <a:rPr lang="en-GB"/>
            </a:br>
            <a:r>
              <a:rPr lang="en-CA" sz="1600">
                <a:solidFill>
                  <a:srgbClr val="3B97DE"/>
                </a:solidFill>
                <a:latin typeface="Apis For Office"/>
              </a:rPr>
              <a:t>Section 5.1</a:t>
            </a:r>
            <a:endParaRPr lang="en-GB" sz="1600">
              <a:solidFill>
                <a:srgbClr val="3B97DE"/>
              </a:solidFill>
              <a:latin typeface="Apis For Office"/>
            </a:endParaRPr>
          </a:p>
        </p:txBody>
      </p:sp>
      <p:sp>
        <p:nvSpPr>
          <p:cNvPr id="3" name="Text Placeholder 2">
            <a:extLst>
              <a:ext uri="{FF2B5EF4-FFF2-40B4-BE49-F238E27FC236}">
                <a16:creationId xmlns:a16="http://schemas.microsoft.com/office/drawing/2014/main" id="{15FEEB8F-C2C3-4616-B7DC-B0A0A36BC6B8}"/>
              </a:ext>
            </a:extLst>
          </p:cNvPr>
          <p:cNvSpPr>
            <a:spLocks noGrp="1"/>
          </p:cNvSpPr>
          <p:nvPr>
            <p:ph type="body" sz="quarter" idx="13"/>
          </p:nvPr>
        </p:nvSpPr>
        <p:spPr>
          <a:xfrm>
            <a:off x="647998" y="6150625"/>
            <a:ext cx="9994601" cy="324000"/>
          </a:xfrm>
        </p:spPr>
        <p:txBody>
          <a:bodyPr/>
          <a:lstStyle/>
          <a:p>
            <a:pPr marL="0" indent="0">
              <a:buNone/>
            </a:pPr>
            <a:r>
              <a:rPr lang="en-CA"/>
              <a:t>Abbreviations: MEN 2, Multiple Endocrine Neoplasia syndrome type 2; MTC , medullary thyroid carcinoma..</a:t>
            </a:r>
            <a:br>
              <a:rPr lang="en-CA"/>
            </a:br>
            <a:r>
              <a:rPr lang="en-CA"/>
              <a:t>Wegovy</a:t>
            </a:r>
            <a:r>
              <a:rPr lang="en-CA" baseline="30000"/>
              <a:t>®</a:t>
            </a:r>
            <a:r>
              <a:rPr lang="en-CA"/>
              <a:t> [package insert]. Novo Nordisk Inc.</a:t>
            </a:r>
          </a:p>
        </p:txBody>
      </p:sp>
      <p:sp>
        <p:nvSpPr>
          <p:cNvPr id="6" name="Rectangle 5">
            <a:extLst>
              <a:ext uri="{FF2B5EF4-FFF2-40B4-BE49-F238E27FC236}">
                <a16:creationId xmlns:a16="http://schemas.microsoft.com/office/drawing/2014/main" id="{CF933326-1F3F-4DD6-B310-8D1F8519272C}"/>
              </a:ext>
            </a:extLst>
          </p:cNvPr>
          <p:cNvSpPr/>
          <p:nvPr/>
        </p:nvSpPr>
        <p:spPr>
          <a:xfrm>
            <a:off x="647700" y="981198"/>
            <a:ext cx="10896600" cy="4391025"/>
          </a:xfrm>
          <a:prstGeom prst="rect">
            <a:avLst/>
          </a:prstGeom>
          <a:solidFill>
            <a:srgbClr val="D8EAF8"/>
          </a:solidFill>
          <a:ln>
            <a:noFill/>
          </a:ln>
          <a:effectLst>
            <a:outerShdw blurRad="190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2000" b="1" i="0">
                <a:solidFill>
                  <a:schemeClr val="tx2"/>
                </a:solidFill>
                <a:effectLst/>
              </a:rPr>
              <a:t>Risk of Thyroid C-Cell Tumors</a:t>
            </a:r>
          </a:p>
          <a:p>
            <a:pPr algn="l"/>
            <a:endParaRPr lang="en-US">
              <a:solidFill>
                <a:schemeClr val="tx2"/>
              </a:solidFill>
            </a:endParaRPr>
          </a:p>
          <a:p>
            <a:pPr algn="l"/>
            <a:r>
              <a:rPr lang="en-US">
                <a:solidFill>
                  <a:schemeClr val="tx2"/>
                </a:solidFill>
              </a:rPr>
              <a:t>WEGOVY is contraindicated in patients with a personal or family history of MTC or in patients with MEN 2. Counsel patients regarding the potential risk for MTC with the use of WEGOVY and inform them of symptoms of thyroid tumors (e.g., a mass in the neck, dysphagia, dyspnea, persistent hoarseness).</a:t>
            </a:r>
          </a:p>
          <a:p>
            <a:pPr algn="l"/>
            <a:endParaRPr lang="en-US">
              <a:solidFill>
                <a:schemeClr val="tx2"/>
              </a:solidFill>
            </a:endParaRPr>
          </a:p>
          <a:p>
            <a:pPr algn="l"/>
            <a:r>
              <a:rPr lang="en-US">
                <a:solidFill>
                  <a:schemeClr val="tx2"/>
                </a:solidFill>
              </a:rPr>
              <a:t>Routine monitoring of serum calcitonin or using thyroid ultrasound is of uncertain value for early detection of MTC in patients treated with WEGOVY. Such monitoring may increase the risk of unnecessary procedures, due to the low-test specificity for serum calcitonin and a high background incidence of thyroid disease. Significantly elevated serum calcitonin value may indicate MTC and patients with MTC usually have calcitonin values greater than 50 ng/L. If serum calcitonin is measured and found to be elevated, the patient should be further evaluated. Patients with thyroid nodules noted on physical examination or neck imaging should also be further evaluated.</a:t>
            </a:r>
          </a:p>
        </p:txBody>
      </p:sp>
      <p:sp>
        <p:nvSpPr>
          <p:cNvPr id="8" name="Rectangle 7">
            <a:extLst>
              <a:ext uri="{FF2B5EF4-FFF2-40B4-BE49-F238E27FC236}">
                <a16:creationId xmlns:a16="http://schemas.microsoft.com/office/drawing/2014/main" id="{AD5598FF-2EF6-021B-E870-8D91BABABAA6}"/>
              </a:ext>
            </a:extLst>
          </p:cNvPr>
          <p:cNvSpPr/>
          <p:nvPr/>
        </p:nvSpPr>
        <p:spPr>
          <a:xfrm>
            <a:off x="648300" y="5467719"/>
            <a:ext cx="10896000" cy="657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36000" rIns="72000" bIns="36000" rtlCol="0" anchor="ctr"/>
          <a:lstStyle/>
          <a:p>
            <a:r>
              <a:rPr lang="en-GB" sz="1200" noProof="0">
                <a:latin typeface="Apis For Office"/>
                <a:ea typeface="Apis For Office"/>
                <a:cs typeface="Apis For Office"/>
                <a:sym typeface="Apis For Office" panose="020B0504010101010104" pitchFamily="34" charset="0"/>
              </a:rPr>
              <a:t>A copy of the current FDA label for Semaglutide 2.4mg injection can be obtained by typing in </a:t>
            </a:r>
            <a:r>
              <a:rPr lang="en-GB" sz="1100">
                <a:solidFill>
                  <a:srgbClr val="0000EE"/>
                </a:solidFill>
                <a:highlight>
                  <a:srgbClr val="FFFFFF"/>
                </a:highlight>
                <a:latin typeface="Segoe UI"/>
                <a:ea typeface="Apis For Office"/>
                <a:cs typeface="Segoe UI"/>
                <a:sym typeface="Apis For Office" panose="020B0504010101010104" pitchFamily="34" charset="0"/>
                <a:hlinkClick r:id="rId8"/>
              </a:rPr>
              <a:t>https://www.novo-pi.com/wegovy.pdf</a:t>
            </a:r>
            <a:r>
              <a:rPr lang="en-GB" sz="1200">
                <a:solidFill>
                  <a:schemeClr val="bg1"/>
                </a:solidFill>
                <a:latin typeface="Apis For Office"/>
                <a:ea typeface="Apis For Office"/>
                <a:cs typeface="Apis For Office"/>
                <a:sym typeface="Apis For Office" panose="020B0504010101010104" pitchFamily="34" charset="0"/>
              </a:rPr>
              <a:t> in</a:t>
            </a:r>
            <a:r>
              <a:rPr lang="en-GB" sz="1200" noProof="0">
                <a:solidFill>
                  <a:schemeClr val="bg1"/>
                </a:solidFill>
                <a:latin typeface="Apis For Office"/>
                <a:ea typeface="Apis For Office"/>
                <a:cs typeface="Apis For Office"/>
                <a:sym typeface="Apis For Office" panose="020B0504010101010104" pitchFamily="34" charset="0"/>
              </a:rPr>
              <a:t> </a:t>
            </a:r>
          </a:p>
          <a:p>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Your</a:t>
            </a:r>
            <a:r>
              <a:rPr lang="en-GB" sz="1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 </a:t>
            </a:r>
            <a:r>
              <a:rPr lang="en-GB" sz="1200" noProof="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rPr>
              <a:t>web browser or by scanning the QR code</a:t>
            </a:r>
          </a:p>
        </p:txBody>
      </p:sp>
      <p:pic>
        <p:nvPicPr>
          <p:cNvPr id="9" name="Picture 8">
            <a:extLst>
              <a:ext uri="{FF2B5EF4-FFF2-40B4-BE49-F238E27FC236}">
                <a16:creationId xmlns:a16="http://schemas.microsoft.com/office/drawing/2014/main" id="{FABA908C-CA96-395C-064F-34385A78A3A4}"/>
              </a:ext>
            </a:extLst>
          </p:cNvPr>
          <p:cNvPicPr>
            <a:picLocks noChangeAspect="1"/>
          </p:cNvPicPr>
          <p:nvPr/>
        </p:nvPicPr>
        <p:blipFill>
          <a:blip r:embed="rId9"/>
          <a:stretch>
            <a:fillRect/>
          </a:stretch>
        </p:blipFill>
        <p:spPr>
          <a:xfrm>
            <a:off x="10680978" y="5489982"/>
            <a:ext cx="627332" cy="656086"/>
          </a:xfrm>
          <a:prstGeom prst="rect">
            <a:avLst/>
          </a:prstGeom>
        </p:spPr>
      </p:pic>
    </p:spTree>
    <p:custDataLst>
      <p:tags r:id="rId1"/>
    </p:custDataLst>
    <p:extLst>
      <p:ext uri="{BB962C8B-B14F-4D97-AF65-F5344CB8AC3E}">
        <p14:creationId xmlns:p14="http://schemas.microsoft.com/office/powerpoint/2010/main" val="4197324001"/>
      </p:ext>
    </p:extLst>
  </p:cSld>
  <p:clrMapOvr>
    <a:masterClrMapping/>
  </p:clrMapOvr>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SELECTED" val="YE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ELECTED" val="YES"/>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ELECTED" val="YE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ELECTED" val="YES"/>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SELECTED" val="YES"/>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SELECTED" val="YES"/>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ELECTED" val="YES"/>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ELECTED" val="YES"/>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SELECTED" val="YES"/>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SELECTED" val="YE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ELECTED" val="YES"/>
</p:tagLst>
</file>

<file path=ppt/tags/tag96.xml><?xml version="1.0" encoding="utf-8"?>
<p:tagLst xmlns:a="http://schemas.openxmlformats.org/drawingml/2006/main" xmlns:r="http://schemas.openxmlformats.org/officeDocument/2006/relationships" xmlns:p="http://schemas.openxmlformats.org/presentationml/2006/main">
  <p:tag name="SELECTED" val="YES"/>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ELECTED" val="YES"/>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o Nordisk UDC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E74F5A70-44BF-4AEF-9F91-978B11132E07}" vid="{565FA72A-7CC8-47B7-A269-0957194D19A6}"/>
    </a:ext>
  </a:extLst>
</a:theme>
</file>

<file path=ppt/theme/theme2.xml><?xml version="1.0" encoding="utf-8"?>
<a:theme xmlns:a="http://schemas.openxmlformats.org/drawingml/2006/main" name="Office-tema">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Nordisk Noto">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Nordisk No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9263a73-a94c-4e1c-bebc-b9736e104a10">
      <Terms xmlns="http://schemas.microsoft.com/office/infopath/2007/PartnerControls"/>
    </lcf76f155ced4ddcb4097134ff3c332f>
  </documentManagement>
</p:properties>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85115524383324","enableDocumentContentUpdater":true,"version":"1.1"}]]></TemplafySlideTemplateConfiguration>
</file>

<file path=customXml/item2.xml><?xml version="1.0" encoding="utf-8"?>
<TemplafyTemplateConfiguration><![CDATA[{"elementsMetadata":[],"transformationConfigurations":[],"templateName":"Novo Nordisk UDC - 291225","templateDescription":"","enableDocumentContentUpdater":false,"version":"2.0"}]]></TemplafyTemplateConfiguration>
</file>

<file path=customXml/item3.xml><?xml version="1.0" encoding="utf-8"?>
<ct:contentTypeSchema xmlns:ct="http://schemas.microsoft.com/office/2006/metadata/contentType" xmlns:ma="http://schemas.microsoft.com/office/2006/metadata/properties/metaAttributes" ct:_="" ma:_="" ma:contentTypeName="Document" ma:contentTypeID="0x0101007B4068FEBBC698419BFA08CF31E505F5" ma:contentTypeVersion="11" ma:contentTypeDescription="Create a new document." ma:contentTypeScope="" ma:versionID="56716a011c3c5c0606447a496e2f26bb">
  <xsd:schema xmlns:xsd="http://www.w3.org/2001/XMLSchema" xmlns:xs="http://www.w3.org/2001/XMLSchema" xmlns:p="http://schemas.microsoft.com/office/2006/metadata/properties" xmlns:ns2="19263a73-a94c-4e1c-bebc-b9736e104a10" targetNamespace="http://schemas.microsoft.com/office/2006/metadata/properties" ma:root="true" ma:fieldsID="acbfe7a312e736285e9ebad0283edc72" ns2:_="">
    <xsd:import namespace="19263a73-a94c-4e1c-bebc-b9736e104a1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263a73-a94c-4e1c-bebc-b9736e104a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emplafyFormConfiguration><![CDATA[{"formFields":[],"formDataEntries":[]}]]></TemplafyFormConfigur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TemplateConfiguration><![CDATA[{"documentContentValidatorConfiguration":{"enableDocumentContentValidator":false,"documentContentValidatorVersion":0},"elementsMetadata":[],"slideId":"637285115524383324","enableDocumentContentUpdater":true,"version":"1.1"}]]></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285115524383324","enableDocumentContentUpdater":true,"version":"1.1"}]]></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F4B89C7C-FE99-4780-B959-78D40EC29D69}">
  <ds:schemaRefs>
    <ds:schemaRef ds:uri="http://purl.org/dc/dcmitype/"/>
    <ds:schemaRef ds:uri="http://purl.org/dc/elements/1.1/"/>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19263a73-a94c-4e1c-bebc-b9736e104a10"/>
    <ds:schemaRef ds:uri="http://schemas.microsoft.com/office/2006/metadata/properties"/>
  </ds:schemaRefs>
</ds:datastoreItem>
</file>

<file path=customXml/itemProps10.xml><?xml version="1.0" encoding="utf-8"?>
<ds:datastoreItem xmlns:ds="http://schemas.openxmlformats.org/officeDocument/2006/customXml" ds:itemID="{57EE89B7-6FD9-4B39-B94A-F6075F73C204}">
  <ds:schemaRefs/>
</ds:datastoreItem>
</file>

<file path=customXml/itemProps11.xml><?xml version="1.0" encoding="utf-8"?>
<ds:datastoreItem xmlns:ds="http://schemas.openxmlformats.org/officeDocument/2006/customXml" ds:itemID="{AEC2348C-107A-4CFA-B2B0-E7FCEC6E36AA}">
  <ds:schemaRefs/>
</ds:datastoreItem>
</file>

<file path=customXml/itemProps2.xml><?xml version="1.0" encoding="utf-8"?>
<ds:datastoreItem xmlns:ds="http://schemas.openxmlformats.org/officeDocument/2006/customXml" ds:itemID="{A1969E3D-67DA-4B00-85EC-690AA8CD9EC0}">
  <ds:schemaRefs/>
</ds:datastoreItem>
</file>

<file path=customXml/itemProps3.xml><?xml version="1.0" encoding="utf-8"?>
<ds:datastoreItem xmlns:ds="http://schemas.openxmlformats.org/officeDocument/2006/customXml" ds:itemID="{C82C91D6-DC89-48A2-8B1C-FF4E3DE24976}">
  <ds:schemaRefs>
    <ds:schemaRef ds:uri="19263a73-a94c-4e1c-bebc-b9736e104a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ED428311-D9D6-43A9-ADE0-6BCF699ADB51}">
  <ds:schemaRefs/>
</ds:datastoreItem>
</file>

<file path=customXml/itemProps5.xml><?xml version="1.0" encoding="utf-8"?>
<ds:datastoreItem xmlns:ds="http://schemas.openxmlformats.org/officeDocument/2006/customXml" ds:itemID="{F91809ED-4D4D-41A0-82E2-3C137A104E74}">
  <ds:schemaRefs>
    <ds:schemaRef ds:uri="http://schemas.microsoft.com/sharepoint/v3/contenttype/forms"/>
  </ds:schemaRefs>
</ds:datastoreItem>
</file>

<file path=customXml/itemProps6.xml><?xml version="1.0" encoding="utf-8"?>
<ds:datastoreItem xmlns:ds="http://schemas.openxmlformats.org/officeDocument/2006/customXml" ds:itemID="{05145A27-CD44-440E-A9DA-5E7A96662454}">
  <ds:schemaRefs/>
</ds:datastoreItem>
</file>

<file path=customXml/itemProps7.xml><?xml version="1.0" encoding="utf-8"?>
<ds:datastoreItem xmlns:ds="http://schemas.openxmlformats.org/officeDocument/2006/customXml" ds:itemID="{38C7462F-D065-4398-BD3C-81F735E08120}">
  <ds:schemaRefs/>
</ds:datastoreItem>
</file>

<file path=customXml/itemProps8.xml><?xml version="1.0" encoding="utf-8"?>
<ds:datastoreItem xmlns:ds="http://schemas.openxmlformats.org/officeDocument/2006/customXml" ds:itemID="{20A82614-398A-486C-BCD1-3ACDF6C027B1}">
  <ds:schemaRefs/>
</ds:datastoreItem>
</file>

<file path=customXml/itemProps9.xml><?xml version="1.0" encoding="utf-8"?>
<ds:datastoreItem xmlns:ds="http://schemas.openxmlformats.org/officeDocument/2006/customXml" ds:itemID="{9C330E87-05FE-48CC-B24E-A04E8503C41E}">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0</TotalTime>
  <Words>3984</Words>
  <Application>Microsoft Office PowerPoint</Application>
  <PresentationFormat>Widescreen</PresentationFormat>
  <Paragraphs>194</Paragraphs>
  <Slides>20</Slides>
  <Notes>17</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Novo Nordisk UDC 16:9</vt:lpstr>
      <vt:lpstr>Pooled Analysis of STEP-HFpEF and STEP-HFpEF DM randomized trials  &amp; Findings from the STEP-HFpEF Programme Across the Age Spectrum</vt:lpstr>
      <vt:lpstr>PowerPoint Presentation</vt:lpstr>
      <vt:lpstr>PowerPoint Presentation</vt:lpstr>
      <vt:lpstr>Box Warning</vt:lpstr>
      <vt:lpstr>Indications and Usage Section 1</vt:lpstr>
      <vt:lpstr>Indications and Usage Section 1</vt:lpstr>
      <vt:lpstr>Contraindications Section 4</vt:lpstr>
      <vt:lpstr>Warnings and Precautions Section 5.1</vt:lpstr>
      <vt:lpstr>Warnings and Precautions Section 5.1</vt:lpstr>
      <vt:lpstr>Warnings and Precautions Section 5.2</vt:lpstr>
      <vt:lpstr>Warnings and Precautions Section 5.3</vt:lpstr>
      <vt:lpstr>Warnings and Precautions Section 5.4</vt:lpstr>
      <vt:lpstr>Warnings and Precautions Section 5.5 and 5.6 </vt:lpstr>
      <vt:lpstr>Warnings and Precautions Section 5.7 </vt:lpstr>
      <vt:lpstr>Warnings and Precautions Section 5.8 </vt:lpstr>
      <vt:lpstr>Warnings and Precautions Section 5.9</vt:lpstr>
      <vt:lpstr>Warnings and Precautions Section 5.10</vt:lpstr>
      <vt:lpstr>Novo Nordisk provides the following disclosures as to the authors related to the period of writing, editing, and/or contributing to the source publication</vt:lpstr>
      <vt:lpstr>PowerPoint Presentation</vt:lpstr>
      <vt:lpstr>Novo Nordisk provides the following disclosures as to the authors related to the period of writing, editing, and/or contributing to the source public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CZCM (Camerra Miller)</cp:lastModifiedBy>
  <cp:revision>2</cp:revision>
  <dcterms:created xsi:type="dcterms:W3CDTF">2026-01-05T13:05:40Z</dcterms:created>
  <dcterms:modified xsi:type="dcterms:W3CDTF">2026-06-15T19:4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y fmtid="{D5CDD505-2E9C-101B-9397-08002B2CF9AE}" pid="3" name="TemplafyTimeStamp">
    <vt:lpwstr>2026-01-05T08:38:20</vt:lpwstr>
  </property>
  <property fmtid="{D5CDD505-2E9C-101B-9397-08002B2CF9AE}" pid="4" name="TemplafyTenantId">
    <vt:lpwstr>novonordisk</vt:lpwstr>
  </property>
  <property fmtid="{D5CDD505-2E9C-101B-9397-08002B2CF9AE}" pid="5" name="TemplafyTemplateId">
    <vt:lpwstr>1358438876588015624</vt:lpwstr>
  </property>
  <property fmtid="{D5CDD505-2E9C-101B-9397-08002B2CF9AE}" pid="6" name="TemplafyUserProfileId">
    <vt:lpwstr>1326829205857501206</vt:lpwstr>
  </property>
  <property fmtid="{D5CDD505-2E9C-101B-9397-08002B2CF9AE}" pid="7" name="TemplafyLanguageCode">
    <vt:lpwstr>en-GB</vt:lpwstr>
  </property>
  <property fmtid="{D5CDD505-2E9C-101B-9397-08002B2CF9AE}" pid="8" name="TemplafyFromBlank">
    <vt:bool>true</vt:bool>
  </property>
  <property fmtid="{D5CDD505-2E9C-101B-9397-08002B2CF9AE}" pid="9" name="ContentTypeId">
    <vt:lpwstr>0x0101007B4068FEBBC698419BFA08CF31E505F5</vt:lpwstr>
  </property>
  <property fmtid="{D5CDD505-2E9C-101B-9397-08002B2CF9AE}" pid="10" name="MediaServiceImageTags">
    <vt:lpwstr/>
  </property>
</Properties>
</file>